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authors.xml" ContentType="application/vnd.ms-powerpoint.authors+xml"/>
  <Override PartName="/ppt/charts/chart1.xml" ContentType="application/vnd.openxmlformats-officedocument.drawingml.chart+xml"/>
  <Override PartName="/ppt/charts/chart10.xml" ContentType="application/vnd.openxmlformats-officedocument.drawingml.chart+xml"/>
  <Override PartName="/ppt/charts/chart100.xml" ContentType="application/vnd.openxmlformats-officedocument.drawingml.chart+xml"/>
  <Override PartName="/ppt/charts/chart101.xml" ContentType="application/vnd.openxmlformats-officedocument.drawingml.chart+xml"/>
  <Override PartName="/ppt/charts/chart102.xml" ContentType="application/vnd.openxmlformats-officedocument.drawingml.chart+xml"/>
  <Override PartName="/ppt/charts/chart103.xml" ContentType="application/vnd.openxmlformats-officedocument.drawingml.chart+xml"/>
  <Override PartName="/ppt/charts/chart104.xml" ContentType="application/vnd.openxmlformats-officedocument.drawingml.chart+xml"/>
  <Override PartName="/ppt/charts/chart105.xml" ContentType="application/vnd.openxmlformats-officedocument.drawingml.chart+xml"/>
  <Override PartName="/ppt/charts/chart106.xml" ContentType="application/vnd.openxmlformats-officedocument.drawingml.chart+xml"/>
  <Override PartName="/ppt/charts/chart107.xml" ContentType="application/vnd.openxmlformats-officedocument.drawingml.chart+xml"/>
  <Override PartName="/ppt/charts/chart108.xml" ContentType="application/vnd.openxmlformats-officedocument.drawingml.chart+xml"/>
  <Override PartName="/ppt/charts/chart109.xml" ContentType="application/vnd.openxmlformats-officedocument.drawingml.chart+xml"/>
  <Override PartName="/ppt/charts/chart11.xml" ContentType="application/vnd.openxmlformats-officedocument.drawingml.chart+xml"/>
  <Override PartName="/ppt/charts/chart110.xml" ContentType="application/vnd.openxmlformats-officedocument.drawingml.chart+xml"/>
  <Override PartName="/ppt/charts/chart111.xml" ContentType="application/vnd.openxmlformats-officedocument.drawingml.chart+xml"/>
  <Override PartName="/ppt/charts/chart112.xml" ContentType="application/vnd.openxmlformats-officedocument.drawingml.chart+xml"/>
  <Override PartName="/ppt/charts/chart113.xml" ContentType="application/vnd.openxmlformats-officedocument.drawingml.chart+xml"/>
  <Override PartName="/ppt/charts/chart114.xml" ContentType="application/vnd.openxmlformats-officedocument.drawingml.chart+xml"/>
  <Override PartName="/ppt/charts/chart115.xml" ContentType="application/vnd.openxmlformats-officedocument.drawingml.chart+xml"/>
  <Override PartName="/ppt/charts/chart116.xml" ContentType="application/vnd.openxmlformats-officedocument.drawingml.chart+xml"/>
  <Override PartName="/ppt/charts/chart117.xml" ContentType="application/vnd.openxmlformats-officedocument.drawingml.chart+xml"/>
  <Override PartName="/ppt/charts/chart118.xml" ContentType="application/vnd.openxmlformats-officedocument.drawingml.chart+xml"/>
  <Override PartName="/ppt/charts/chart119.xml" ContentType="application/vnd.openxmlformats-officedocument.drawingml.chart+xml"/>
  <Override PartName="/ppt/charts/chart12.xml" ContentType="application/vnd.openxmlformats-officedocument.drawingml.chart+xml"/>
  <Override PartName="/ppt/charts/chart120.xml" ContentType="application/vnd.openxmlformats-officedocument.drawingml.chart+xml"/>
  <Override PartName="/ppt/charts/chart121.xml" ContentType="application/vnd.openxmlformats-officedocument.drawingml.chart+xml"/>
  <Override PartName="/ppt/charts/chart122.xml" ContentType="application/vnd.openxmlformats-officedocument.drawingml.chart+xml"/>
  <Override PartName="/ppt/charts/chart123.xml" ContentType="application/vnd.openxmlformats-officedocument.drawingml.chart+xml"/>
  <Override PartName="/ppt/charts/chart124.xml" ContentType="application/vnd.openxmlformats-officedocument.drawingml.chart+xml"/>
  <Override PartName="/ppt/charts/chart125.xml" ContentType="application/vnd.openxmlformats-officedocument.drawingml.chart+xml"/>
  <Override PartName="/ppt/charts/chart126.xml" ContentType="application/vnd.openxmlformats-officedocument.drawingml.chart+xml"/>
  <Override PartName="/ppt/charts/chart127.xml" ContentType="application/vnd.openxmlformats-officedocument.drawingml.chart+xml"/>
  <Override PartName="/ppt/charts/chart128.xml" ContentType="application/vnd.openxmlformats-officedocument.drawingml.chart+xml"/>
  <Override PartName="/ppt/charts/chart129.xml" ContentType="application/vnd.openxmlformats-officedocument.drawingml.chart+xml"/>
  <Override PartName="/ppt/charts/chart13.xml" ContentType="application/vnd.openxmlformats-officedocument.drawingml.chart+xml"/>
  <Override PartName="/ppt/charts/chart130.xml" ContentType="application/vnd.openxmlformats-officedocument.drawingml.chart+xml"/>
  <Override PartName="/ppt/charts/chart131.xml" ContentType="application/vnd.openxmlformats-officedocument.drawingml.chart+xml"/>
  <Override PartName="/ppt/charts/chart132.xml" ContentType="application/vnd.openxmlformats-officedocument.drawingml.chart+xml"/>
  <Override PartName="/ppt/charts/chart133.xml" ContentType="application/vnd.openxmlformats-officedocument.drawingml.chart+xml"/>
  <Override PartName="/ppt/charts/chart134.xml" ContentType="application/vnd.openxmlformats-officedocument.drawingml.chart+xml"/>
  <Override PartName="/ppt/charts/chart135.xml" ContentType="application/vnd.openxmlformats-officedocument.drawingml.chart+xml"/>
  <Override PartName="/ppt/charts/chart136.xml" ContentType="application/vnd.openxmlformats-officedocument.drawingml.chart+xml"/>
  <Override PartName="/ppt/charts/chart137.xml" ContentType="application/vnd.openxmlformats-officedocument.drawingml.chart+xml"/>
  <Override PartName="/ppt/charts/chart138.xml" ContentType="application/vnd.openxmlformats-officedocument.drawingml.chart+xml"/>
  <Override PartName="/ppt/charts/chart139.xml" ContentType="application/vnd.openxmlformats-officedocument.drawingml.chart+xml"/>
  <Override PartName="/ppt/charts/chart14.xml" ContentType="application/vnd.openxmlformats-officedocument.drawingml.chart+xml"/>
  <Override PartName="/ppt/charts/chart140.xml" ContentType="application/vnd.openxmlformats-officedocument.drawingml.chart+xml"/>
  <Override PartName="/ppt/charts/chart141.xml" ContentType="application/vnd.openxmlformats-officedocument.drawingml.chart+xml"/>
  <Override PartName="/ppt/charts/chart142.xml" ContentType="application/vnd.openxmlformats-officedocument.drawingml.chart+xml"/>
  <Override PartName="/ppt/charts/chart143.xml" ContentType="application/vnd.openxmlformats-officedocument.drawingml.chart+xml"/>
  <Override PartName="/ppt/charts/chart144.xml" ContentType="application/vnd.openxmlformats-officedocument.drawingml.chart+xml"/>
  <Override PartName="/ppt/charts/chart145.xml" ContentType="application/vnd.openxmlformats-officedocument.drawingml.chart+xml"/>
  <Override PartName="/ppt/charts/chart146.xml" ContentType="application/vnd.openxmlformats-officedocument.drawingml.chart+xml"/>
  <Override PartName="/ppt/charts/chart147.xml" ContentType="application/vnd.openxmlformats-officedocument.drawingml.chart+xml"/>
  <Override PartName="/ppt/charts/chart148.xml" ContentType="application/vnd.openxmlformats-officedocument.drawingml.chart+xml"/>
  <Override PartName="/ppt/charts/chart149.xml" ContentType="application/vnd.openxmlformats-officedocument.drawingml.chart+xml"/>
  <Override PartName="/ppt/charts/chart15.xml" ContentType="application/vnd.openxmlformats-officedocument.drawingml.chart+xml"/>
  <Override PartName="/ppt/charts/chart150.xml" ContentType="application/vnd.openxmlformats-officedocument.drawingml.chart+xml"/>
  <Override PartName="/ppt/charts/chart151.xml" ContentType="application/vnd.openxmlformats-officedocument.drawingml.chart+xml"/>
  <Override PartName="/ppt/charts/chart152.xml" ContentType="application/vnd.openxmlformats-officedocument.drawingml.chart+xml"/>
  <Override PartName="/ppt/charts/chart153.xml" ContentType="application/vnd.openxmlformats-officedocument.drawingml.chart+xml"/>
  <Override PartName="/ppt/charts/chart154.xml" ContentType="application/vnd.openxmlformats-officedocument.drawingml.chart+xml"/>
  <Override PartName="/ppt/charts/chart155.xml" ContentType="application/vnd.openxmlformats-officedocument.drawingml.chart+xml"/>
  <Override PartName="/ppt/charts/chart156.xml" ContentType="application/vnd.openxmlformats-officedocument.drawingml.chart+xml"/>
  <Override PartName="/ppt/charts/chart157.xml" ContentType="application/vnd.openxmlformats-officedocument.drawingml.chart+xml"/>
  <Override PartName="/ppt/charts/chart158.xml" ContentType="application/vnd.openxmlformats-officedocument.drawingml.chart+xml"/>
  <Override PartName="/ppt/charts/chart159.xml" ContentType="application/vnd.openxmlformats-officedocument.drawingml.chart+xml"/>
  <Override PartName="/ppt/charts/chart16.xml" ContentType="application/vnd.openxmlformats-officedocument.drawingml.chart+xml"/>
  <Override PartName="/ppt/charts/chart160.xml" ContentType="application/vnd.openxmlformats-officedocument.drawingml.chart+xml"/>
  <Override PartName="/ppt/charts/chart161.xml" ContentType="application/vnd.openxmlformats-officedocument.drawingml.chart+xml"/>
  <Override PartName="/ppt/charts/chart162.xml" ContentType="application/vnd.openxmlformats-officedocument.drawingml.chart+xml"/>
  <Override PartName="/ppt/charts/chart163.xml" ContentType="application/vnd.openxmlformats-officedocument.drawingml.chart+xml"/>
  <Override PartName="/ppt/charts/chart164.xml" ContentType="application/vnd.openxmlformats-officedocument.drawingml.chart+xml"/>
  <Override PartName="/ppt/charts/chart165.xml" ContentType="application/vnd.openxmlformats-officedocument.drawingml.chart+xml"/>
  <Override PartName="/ppt/charts/chart166.xml" ContentType="application/vnd.openxmlformats-officedocument.drawingml.chart+xml"/>
  <Override PartName="/ppt/charts/chart167.xml" ContentType="application/vnd.openxmlformats-officedocument.drawingml.chart+xml"/>
  <Override PartName="/ppt/charts/chart168.xml" ContentType="application/vnd.openxmlformats-officedocument.drawingml.chart+xml"/>
  <Override PartName="/ppt/charts/chart169.xml" ContentType="application/vnd.openxmlformats-officedocument.drawingml.chart+xml"/>
  <Override PartName="/ppt/charts/chart17.xml" ContentType="application/vnd.openxmlformats-officedocument.drawingml.chart+xml"/>
  <Override PartName="/ppt/charts/chart170.xml" ContentType="application/vnd.openxmlformats-officedocument.drawingml.chart+xml"/>
  <Override PartName="/ppt/charts/chart171.xml" ContentType="application/vnd.openxmlformats-officedocument.drawingml.chart+xml"/>
  <Override PartName="/ppt/charts/chart172.xml" ContentType="application/vnd.openxmlformats-officedocument.drawingml.chart+xml"/>
  <Override PartName="/ppt/charts/chart173.xml" ContentType="application/vnd.openxmlformats-officedocument.drawingml.chart+xml"/>
  <Override PartName="/ppt/charts/chart174.xml" ContentType="application/vnd.openxmlformats-officedocument.drawingml.chart+xml"/>
  <Override PartName="/ppt/charts/chart175.xml" ContentType="application/vnd.openxmlformats-officedocument.drawingml.chart+xml"/>
  <Override PartName="/ppt/charts/chart176.xml" ContentType="application/vnd.openxmlformats-officedocument.drawingml.chart+xml"/>
  <Override PartName="/ppt/charts/chart177.xml" ContentType="application/vnd.openxmlformats-officedocument.drawingml.chart+xml"/>
  <Override PartName="/ppt/charts/chart178.xml" ContentType="application/vnd.openxmlformats-officedocument.drawingml.chart+xml"/>
  <Override PartName="/ppt/charts/chart179.xml" ContentType="application/vnd.openxmlformats-officedocument.drawingml.chart+xml"/>
  <Override PartName="/ppt/charts/chart18.xml" ContentType="application/vnd.openxmlformats-officedocument.drawingml.chart+xml"/>
  <Override PartName="/ppt/charts/chart180.xml" ContentType="application/vnd.openxmlformats-officedocument.drawingml.chart+xml"/>
  <Override PartName="/ppt/charts/chart181.xml" ContentType="application/vnd.openxmlformats-officedocument.drawingml.chart+xml"/>
  <Override PartName="/ppt/charts/chart182.xml" ContentType="application/vnd.openxmlformats-officedocument.drawingml.chart+xml"/>
  <Override PartName="/ppt/charts/chart183.xml" ContentType="application/vnd.openxmlformats-officedocument.drawingml.chart+xml"/>
  <Override PartName="/ppt/charts/chart184.xml" ContentType="application/vnd.openxmlformats-officedocument.drawingml.chart+xml"/>
  <Override PartName="/ppt/charts/chart185.xml" ContentType="application/vnd.openxmlformats-officedocument.drawingml.chart+xml"/>
  <Override PartName="/ppt/charts/chart186.xml" ContentType="application/vnd.openxmlformats-officedocument.drawingml.chart+xml"/>
  <Override PartName="/ppt/charts/chart187.xml" ContentType="application/vnd.openxmlformats-officedocument.drawingml.chart+xml"/>
  <Override PartName="/ppt/charts/chart188.xml" ContentType="application/vnd.openxmlformats-officedocument.drawingml.chart+xml"/>
  <Override PartName="/ppt/charts/chart189.xml" ContentType="application/vnd.openxmlformats-officedocument.drawingml.chart+xml"/>
  <Override PartName="/ppt/charts/chart19.xml" ContentType="application/vnd.openxmlformats-officedocument.drawingml.chart+xml"/>
  <Override PartName="/ppt/charts/chart190.xml" ContentType="application/vnd.openxmlformats-officedocument.drawingml.chart+xml"/>
  <Override PartName="/ppt/charts/chart191.xml" ContentType="application/vnd.openxmlformats-officedocument.drawingml.chart+xml"/>
  <Override PartName="/ppt/charts/chart192.xml" ContentType="application/vnd.openxmlformats-officedocument.drawingml.chart+xml"/>
  <Override PartName="/ppt/charts/chart193.xml" ContentType="application/vnd.openxmlformats-officedocument.drawingml.chart+xml"/>
  <Override PartName="/ppt/charts/chart194.xml" ContentType="application/vnd.openxmlformats-officedocument.drawingml.chart+xml"/>
  <Override PartName="/ppt/charts/chart195.xml" ContentType="application/vnd.openxmlformats-officedocument.drawingml.chart+xml"/>
  <Override PartName="/ppt/charts/chart196.xml" ContentType="application/vnd.openxmlformats-officedocument.drawingml.chart+xml"/>
  <Override PartName="/ppt/charts/chart197.xml" ContentType="application/vnd.openxmlformats-officedocument.drawingml.chart+xml"/>
  <Override PartName="/ppt/charts/chart198.xml" ContentType="application/vnd.openxmlformats-officedocument.drawingml.chart+xml"/>
  <Override PartName="/ppt/charts/chart199.xml" ContentType="application/vnd.openxmlformats-officedocument.drawingml.chart+xml"/>
  <Override PartName="/ppt/charts/chart2.xml" ContentType="application/vnd.openxmlformats-officedocument.drawingml.chart+xml"/>
  <Override PartName="/ppt/charts/chart20.xml" ContentType="application/vnd.openxmlformats-officedocument.drawingml.chart+xml"/>
  <Override PartName="/ppt/charts/chart200.xml" ContentType="application/vnd.openxmlformats-officedocument.drawingml.chart+xml"/>
  <Override PartName="/ppt/charts/chart201.xml" ContentType="application/vnd.openxmlformats-officedocument.drawingml.chart+xml"/>
  <Override PartName="/ppt/charts/chart202.xml" ContentType="application/vnd.openxmlformats-officedocument.drawingml.chart+xml"/>
  <Override PartName="/ppt/charts/chart203.xml" ContentType="application/vnd.openxmlformats-officedocument.drawingml.chart+xml"/>
  <Override PartName="/ppt/charts/chart204.xml" ContentType="application/vnd.openxmlformats-officedocument.drawingml.chart+xml"/>
  <Override PartName="/ppt/charts/chart205.xml" ContentType="application/vnd.openxmlformats-officedocument.drawingml.chart+xml"/>
  <Override PartName="/ppt/charts/chart206.xml" ContentType="application/vnd.openxmlformats-officedocument.drawingml.chart+xml"/>
  <Override PartName="/ppt/charts/chart207.xml" ContentType="application/vnd.openxmlformats-officedocument.drawingml.chart+xml"/>
  <Override PartName="/ppt/charts/chart208.xml" ContentType="application/vnd.openxmlformats-officedocument.drawingml.chart+xml"/>
  <Override PartName="/ppt/charts/chart209.xml" ContentType="application/vnd.openxmlformats-officedocument.drawingml.chart+xml"/>
  <Override PartName="/ppt/charts/chart21.xml" ContentType="application/vnd.openxmlformats-officedocument.drawingml.chart+xml"/>
  <Override PartName="/ppt/charts/chart210.xml" ContentType="application/vnd.openxmlformats-officedocument.drawingml.chart+xml"/>
  <Override PartName="/ppt/charts/chart211.xml" ContentType="application/vnd.openxmlformats-officedocument.drawingml.chart+xml"/>
  <Override PartName="/ppt/charts/chart212.xml" ContentType="application/vnd.openxmlformats-officedocument.drawingml.chart+xml"/>
  <Override PartName="/ppt/charts/chart213.xml" ContentType="application/vnd.openxmlformats-officedocument.drawingml.chart+xml"/>
  <Override PartName="/ppt/charts/chart214.xml" ContentType="application/vnd.openxmlformats-officedocument.drawingml.chart+xml"/>
  <Override PartName="/ppt/charts/chart215.xml" ContentType="application/vnd.openxmlformats-officedocument.drawingml.chart+xml"/>
  <Override PartName="/ppt/charts/chart216.xml" ContentType="application/vnd.openxmlformats-officedocument.drawingml.chart+xml"/>
  <Override PartName="/ppt/charts/chart217.xml" ContentType="application/vnd.openxmlformats-officedocument.drawingml.chart+xml"/>
  <Override PartName="/ppt/charts/chart218.xml" ContentType="application/vnd.openxmlformats-officedocument.drawingml.chart+xml"/>
  <Override PartName="/ppt/charts/chart219.xml" ContentType="application/vnd.openxmlformats-officedocument.drawingml.chart+xml"/>
  <Override PartName="/ppt/charts/chart22.xml" ContentType="application/vnd.openxmlformats-officedocument.drawingml.chart+xml"/>
  <Override PartName="/ppt/charts/chart220.xml" ContentType="application/vnd.openxmlformats-officedocument.drawingml.chart+xml"/>
  <Override PartName="/ppt/charts/chart221.xml" ContentType="application/vnd.openxmlformats-officedocument.drawingml.chart+xml"/>
  <Override PartName="/ppt/charts/chart222.xml" ContentType="application/vnd.openxmlformats-officedocument.drawingml.chart+xml"/>
  <Override PartName="/ppt/charts/chart223.xml" ContentType="application/vnd.openxmlformats-officedocument.drawingml.chart+xml"/>
  <Override PartName="/ppt/charts/chart224.xml" ContentType="application/vnd.openxmlformats-officedocument.drawingml.chart+xml"/>
  <Override PartName="/ppt/charts/chart225.xml" ContentType="application/vnd.openxmlformats-officedocument.drawingml.chart+xml"/>
  <Override PartName="/ppt/charts/chart226.xml" ContentType="application/vnd.openxmlformats-officedocument.drawingml.chart+xml"/>
  <Override PartName="/ppt/charts/chart227.xml" ContentType="application/vnd.openxmlformats-officedocument.drawingml.chart+xml"/>
  <Override PartName="/ppt/charts/chart228.xml" ContentType="application/vnd.openxmlformats-officedocument.drawingml.chart+xml"/>
  <Override PartName="/ppt/charts/chart229.xml" ContentType="application/vnd.openxmlformats-officedocument.drawingml.chart+xml"/>
  <Override PartName="/ppt/charts/chart23.xml" ContentType="application/vnd.openxmlformats-officedocument.drawingml.chart+xml"/>
  <Override PartName="/ppt/charts/chart230.xml" ContentType="application/vnd.openxmlformats-officedocument.drawingml.chart+xml"/>
  <Override PartName="/ppt/charts/chart231.xml" ContentType="application/vnd.openxmlformats-officedocument.drawingml.chart+xml"/>
  <Override PartName="/ppt/charts/chart232.xml" ContentType="application/vnd.openxmlformats-officedocument.drawingml.chart+xml"/>
  <Override PartName="/ppt/charts/chart233.xml" ContentType="application/vnd.openxmlformats-officedocument.drawingml.chart+xml"/>
  <Override PartName="/ppt/charts/chart234.xml" ContentType="application/vnd.openxmlformats-officedocument.drawingml.chart+xml"/>
  <Override PartName="/ppt/charts/chart235.xml" ContentType="application/vnd.openxmlformats-officedocument.drawingml.chart+xml"/>
  <Override PartName="/ppt/charts/chart236.xml" ContentType="application/vnd.openxmlformats-officedocument.drawingml.chart+xml"/>
  <Override PartName="/ppt/charts/chart237.xml" ContentType="application/vnd.openxmlformats-officedocument.drawingml.chart+xml"/>
  <Override PartName="/ppt/charts/chart238.xml" ContentType="application/vnd.openxmlformats-officedocument.drawingml.chart+xml"/>
  <Override PartName="/ppt/charts/chart239.xml" ContentType="application/vnd.openxmlformats-officedocument.drawingml.chart+xml"/>
  <Override PartName="/ppt/charts/chart24.xml" ContentType="application/vnd.openxmlformats-officedocument.drawingml.chart+xml"/>
  <Override PartName="/ppt/charts/chart240.xml" ContentType="application/vnd.openxmlformats-officedocument.drawingml.chart+xml"/>
  <Override PartName="/ppt/charts/chart241.xml" ContentType="application/vnd.openxmlformats-officedocument.drawingml.chart+xml"/>
  <Override PartName="/ppt/charts/chart242.xml" ContentType="application/vnd.openxmlformats-officedocument.drawingml.chart+xml"/>
  <Override PartName="/ppt/charts/chart243.xml" ContentType="application/vnd.openxmlformats-officedocument.drawingml.chart+xml"/>
  <Override PartName="/ppt/charts/chart244.xml" ContentType="application/vnd.openxmlformats-officedocument.drawingml.chart+xml"/>
  <Override PartName="/ppt/charts/chart245.xml" ContentType="application/vnd.openxmlformats-officedocument.drawingml.chart+xml"/>
  <Override PartName="/ppt/charts/chart246.xml" ContentType="application/vnd.openxmlformats-officedocument.drawingml.chart+xml"/>
  <Override PartName="/ppt/charts/chart247.xml" ContentType="application/vnd.openxmlformats-officedocument.drawingml.chart+xml"/>
  <Override PartName="/ppt/charts/chart248.xml" ContentType="application/vnd.openxmlformats-officedocument.drawingml.chart+xml"/>
  <Override PartName="/ppt/charts/chart249.xml" ContentType="application/vnd.openxmlformats-officedocument.drawingml.chart+xml"/>
  <Override PartName="/ppt/charts/chart25.xml" ContentType="application/vnd.openxmlformats-officedocument.drawingml.chart+xml"/>
  <Override PartName="/ppt/charts/chart250.xml" ContentType="application/vnd.openxmlformats-officedocument.drawingml.chart+xml"/>
  <Override PartName="/ppt/charts/chart251.xml" ContentType="application/vnd.openxmlformats-officedocument.drawingml.chart+xml"/>
  <Override PartName="/ppt/charts/chart252.xml" ContentType="application/vnd.openxmlformats-officedocument.drawingml.chart+xml"/>
  <Override PartName="/ppt/charts/chart253.xml" ContentType="application/vnd.openxmlformats-officedocument.drawingml.chart+xml"/>
  <Override PartName="/ppt/charts/chart254.xml" ContentType="application/vnd.openxmlformats-officedocument.drawingml.chart+xml"/>
  <Override PartName="/ppt/charts/chart255.xml" ContentType="application/vnd.openxmlformats-officedocument.drawingml.chart+xml"/>
  <Override PartName="/ppt/charts/chart256.xml" ContentType="application/vnd.openxmlformats-officedocument.drawingml.chart+xml"/>
  <Override PartName="/ppt/charts/chart257.xml" ContentType="application/vnd.openxmlformats-officedocument.drawingml.chart+xml"/>
  <Override PartName="/ppt/charts/chart258.xml" ContentType="application/vnd.openxmlformats-officedocument.drawingml.chart+xml"/>
  <Override PartName="/ppt/charts/chart259.xml" ContentType="application/vnd.openxmlformats-officedocument.drawingml.chart+xml"/>
  <Override PartName="/ppt/charts/chart26.xml" ContentType="application/vnd.openxmlformats-officedocument.drawingml.chart+xml"/>
  <Override PartName="/ppt/charts/chart260.xml" ContentType="application/vnd.openxmlformats-officedocument.drawingml.chart+xml"/>
  <Override PartName="/ppt/charts/chart261.xml" ContentType="application/vnd.openxmlformats-officedocument.drawingml.chart+xml"/>
  <Override PartName="/ppt/charts/chart262.xml" ContentType="application/vnd.openxmlformats-officedocument.drawingml.chart+xml"/>
  <Override PartName="/ppt/charts/chart263.xml" ContentType="application/vnd.openxmlformats-officedocument.drawingml.chart+xml"/>
  <Override PartName="/ppt/charts/chart264.xml" ContentType="application/vnd.openxmlformats-officedocument.drawingml.chart+xml"/>
  <Override PartName="/ppt/charts/chart265.xml" ContentType="application/vnd.openxmlformats-officedocument.drawingml.chart+xml"/>
  <Override PartName="/ppt/charts/chart266.xml" ContentType="application/vnd.openxmlformats-officedocument.drawingml.chart+xml"/>
  <Override PartName="/ppt/charts/chart267.xml" ContentType="application/vnd.openxmlformats-officedocument.drawingml.chart+xml"/>
  <Override PartName="/ppt/charts/chart268.xml" ContentType="application/vnd.openxmlformats-officedocument.drawingml.chart+xml"/>
  <Override PartName="/ppt/charts/chart269.xml" ContentType="application/vnd.openxmlformats-officedocument.drawingml.chart+xml"/>
  <Override PartName="/ppt/charts/chart27.xml" ContentType="application/vnd.openxmlformats-officedocument.drawingml.chart+xml"/>
  <Override PartName="/ppt/charts/chart270.xml" ContentType="application/vnd.openxmlformats-officedocument.drawingml.chart+xml"/>
  <Override PartName="/ppt/charts/chart271.xml" ContentType="application/vnd.openxmlformats-officedocument.drawingml.chart+xml"/>
  <Override PartName="/ppt/charts/chart272.xml" ContentType="application/vnd.openxmlformats-officedocument.drawingml.chart+xml"/>
  <Override PartName="/ppt/charts/chart273.xml" ContentType="application/vnd.openxmlformats-officedocument.drawingml.chart+xml"/>
  <Override PartName="/ppt/charts/chart274.xml" ContentType="application/vnd.openxmlformats-officedocument.drawingml.chart+xml"/>
  <Override PartName="/ppt/charts/chart275.xml" ContentType="application/vnd.openxmlformats-officedocument.drawingml.chart+xml"/>
  <Override PartName="/ppt/charts/chart276.xml" ContentType="application/vnd.openxmlformats-officedocument.drawingml.chart+xml"/>
  <Override PartName="/ppt/charts/chart277.xml" ContentType="application/vnd.openxmlformats-officedocument.drawingml.chart+xml"/>
  <Override PartName="/ppt/charts/chart278.xml" ContentType="application/vnd.openxmlformats-officedocument.drawingml.chart+xml"/>
  <Override PartName="/ppt/charts/chart279.xml" ContentType="application/vnd.openxmlformats-officedocument.drawingml.chart+xml"/>
  <Override PartName="/ppt/charts/chart28.xml" ContentType="application/vnd.openxmlformats-officedocument.drawingml.chart+xml"/>
  <Override PartName="/ppt/charts/chart280.xml" ContentType="application/vnd.openxmlformats-officedocument.drawingml.chart+xml"/>
  <Override PartName="/ppt/charts/chart281.xml" ContentType="application/vnd.openxmlformats-officedocument.drawingml.chart+xml"/>
  <Override PartName="/ppt/charts/chart282.xml" ContentType="application/vnd.openxmlformats-officedocument.drawingml.chart+xml"/>
  <Override PartName="/ppt/charts/chart283.xml" ContentType="application/vnd.openxmlformats-officedocument.drawingml.chart+xml"/>
  <Override PartName="/ppt/charts/chart284.xml" ContentType="application/vnd.openxmlformats-officedocument.drawingml.chart+xml"/>
  <Override PartName="/ppt/charts/chart285.xml" ContentType="application/vnd.openxmlformats-officedocument.drawingml.chart+xml"/>
  <Override PartName="/ppt/charts/chart286.xml" ContentType="application/vnd.openxmlformats-officedocument.drawingml.chart+xml"/>
  <Override PartName="/ppt/charts/chart287.xml" ContentType="application/vnd.openxmlformats-officedocument.drawingml.chart+xml"/>
  <Override PartName="/ppt/charts/chart288.xml" ContentType="application/vnd.openxmlformats-officedocument.drawingml.chart+xml"/>
  <Override PartName="/ppt/charts/chart289.xml" ContentType="application/vnd.openxmlformats-officedocument.drawingml.chart+xml"/>
  <Override PartName="/ppt/charts/chart29.xml" ContentType="application/vnd.openxmlformats-officedocument.drawingml.chart+xml"/>
  <Override PartName="/ppt/charts/chart290.xml" ContentType="application/vnd.openxmlformats-officedocument.drawingml.chart+xml"/>
  <Override PartName="/ppt/charts/chart291.xml" ContentType="application/vnd.openxmlformats-officedocument.drawingml.chart+xml"/>
  <Override PartName="/ppt/charts/chart292.xml" ContentType="application/vnd.openxmlformats-officedocument.drawingml.chart+xml"/>
  <Override PartName="/ppt/charts/chart293.xml" ContentType="application/vnd.openxmlformats-officedocument.drawingml.chart+xml"/>
  <Override PartName="/ppt/charts/chart294.xml" ContentType="application/vnd.openxmlformats-officedocument.drawingml.chart+xml"/>
  <Override PartName="/ppt/charts/chart295.xml" ContentType="application/vnd.openxmlformats-officedocument.drawingml.chart+xml"/>
  <Override PartName="/ppt/charts/chart296.xml" ContentType="application/vnd.openxmlformats-officedocument.drawingml.chart+xml"/>
  <Override PartName="/ppt/charts/chart297.xml" ContentType="application/vnd.openxmlformats-officedocument.drawingml.chart+xml"/>
  <Override PartName="/ppt/charts/chart298.xml" ContentType="application/vnd.openxmlformats-officedocument.drawingml.chart+xml"/>
  <Override PartName="/ppt/charts/chart299.xml" ContentType="application/vnd.openxmlformats-officedocument.drawingml.chart+xml"/>
  <Override PartName="/ppt/charts/chart3.xml" ContentType="application/vnd.openxmlformats-officedocument.drawingml.chart+xml"/>
  <Override PartName="/ppt/charts/chart30.xml" ContentType="application/vnd.openxmlformats-officedocument.drawingml.chart+xml"/>
  <Override PartName="/ppt/charts/chart300.xml" ContentType="application/vnd.openxmlformats-officedocument.drawingml.chart+xml"/>
  <Override PartName="/ppt/charts/chart301.xml" ContentType="application/vnd.openxmlformats-officedocument.drawingml.chart+xml"/>
  <Override PartName="/ppt/charts/chart302.xml" ContentType="application/vnd.openxmlformats-officedocument.drawingml.chart+xml"/>
  <Override PartName="/ppt/charts/chart303.xml" ContentType="application/vnd.openxmlformats-officedocument.drawingml.chart+xml"/>
  <Override PartName="/ppt/charts/chart304.xml" ContentType="application/vnd.openxmlformats-officedocument.drawingml.chart+xml"/>
  <Override PartName="/ppt/charts/chart305.xml" ContentType="application/vnd.openxmlformats-officedocument.drawingml.chart+xml"/>
  <Override PartName="/ppt/charts/chart306.xml" ContentType="application/vnd.openxmlformats-officedocument.drawingml.chart+xml"/>
  <Override PartName="/ppt/charts/chart307.xml" ContentType="application/vnd.openxmlformats-officedocument.drawingml.chart+xml"/>
  <Override PartName="/ppt/charts/chart308.xml" ContentType="application/vnd.openxmlformats-officedocument.drawingml.chart+xml"/>
  <Override PartName="/ppt/charts/chart309.xml" ContentType="application/vnd.openxmlformats-officedocument.drawingml.chart+xml"/>
  <Override PartName="/ppt/charts/chart31.xml" ContentType="application/vnd.openxmlformats-officedocument.drawingml.chart+xml"/>
  <Override PartName="/ppt/charts/chart310.xml" ContentType="application/vnd.openxmlformats-officedocument.drawingml.chart+xml"/>
  <Override PartName="/ppt/charts/chart311.xml" ContentType="application/vnd.openxmlformats-officedocument.drawingml.chart+xml"/>
  <Override PartName="/ppt/charts/chart312.xml" ContentType="application/vnd.openxmlformats-officedocument.drawingml.chart+xml"/>
  <Override PartName="/ppt/charts/chart313.xml" ContentType="application/vnd.openxmlformats-officedocument.drawingml.chart+xml"/>
  <Override PartName="/ppt/charts/chart314.xml" ContentType="application/vnd.openxmlformats-officedocument.drawingml.chart+xml"/>
  <Override PartName="/ppt/charts/chart315.xml" ContentType="application/vnd.openxmlformats-officedocument.drawingml.chart+xml"/>
  <Override PartName="/ppt/charts/chart316.xml" ContentType="application/vnd.openxmlformats-officedocument.drawingml.chart+xml"/>
  <Override PartName="/ppt/charts/chart317.xml" ContentType="application/vnd.openxmlformats-officedocument.drawingml.chart+xml"/>
  <Override PartName="/ppt/charts/chart318.xml" ContentType="application/vnd.openxmlformats-officedocument.drawingml.chart+xml"/>
  <Override PartName="/ppt/charts/chart319.xml" ContentType="application/vnd.openxmlformats-officedocument.drawingml.chart+xml"/>
  <Override PartName="/ppt/charts/chart32.xml" ContentType="application/vnd.openxmlformats-officedocument.drawingml.chart+xml"/>
  <Override PartName="/ppt/charts/chart320.xml" ContentType="application/vnd.openxmlformats-officedocument.drawingml.chart+xml"/>
  <Override PartName="/ppt/charts/chart321.xml" ContentType="application/vnd.openxmlformats-officedocument.drawingml.chart+xml"/>
  <Override PartName="/ppt/charts/chart322.xml" ContentType="application/vnd.openxmlformats-officedocument.drawingml.chart+xml"/>
  <Override PartName="/ppt/charts/chart323.xml" ContentType="application/vnd.openxmlformats-officedocument.drawingml.chart+xml"/>
  <Override PartName="/ppt/charts/chart324.xml" ContentType="application/vnd.openxmlformats-officedocument.drawingml.chart+xml"/>
  <Override PartName="/ppt/charts/chart33.xml" ContentType="application/vnd.openxmlformats-officedocument.drawingml.chart+xml"/>
  <Override PartName="/ppt/charts/chart34.xml" ContentType="application/vnd.openxmlformats-officedocument.drawingml.chart+xml"/>
  <Override PartName="/ppt/charts/chart35.xml" ContentType="application/vnd.openxmlformats-officedocument.drawingml.chart+xml"/>
  <Override PartName="/ppt/charts/chart36.xml" ContentType="application/vnd.openxmlformats-officedocument.drawingml.chart+xml"/>
  <Override PartName="/ppt/charts/chart37.xml" ContentType="application/vnd.openxmlformats-officedocument.drawingml.chart+xml"/>
  <Override PartName="/ppt/charts/chart38.xml" ContentType="application/vnd.openxmlformats-officedocument.drawingml.chart+xml"/>
  <Override PartName="/ppt/charts/chart39.xml" ContentType="application/vnd.openxmlformats-officedocument.drawingml.chart+xml"/>
  <Override PartName="/ppt/charts/chart4.xml" ContentType="application/vnd.openxmlformats-officedocument.drawingml.chart+xml"/>
  <Override PartName="/ppt/charts/chart40.xml" ContentType="application/vnd.openxmlformats-officedocument.drawingml.chart+xml"/>
  <Override PartName="/ppt/charts/chart41.xml" ContentType="application/vnd.openxmlformats-officedocument.drawingml.chart+xml"/>
  <Override PartName="/ppt/charts/chart42.xml" ContentType="application/vnd.openxmlformats-officedocument.drawingml.chart+xml"/>
  <Override PartName="/ppt/charts/chart43.xml" ContentType="application/vnd.openxmlformats-officedocument.drawingml.chart+xml"/>
  <Override PartName="/ppt/charts/chart44.xml" ContentType="application/vnd.openxmlformats-officedocument.drawingml.chart+xml"/>
  <Override PartName="/ppt/charts/chart45.xml" ContentType="application/vnd.openxmlformats-officedocument.drawingml.chart+xml"/>
  <Override PartName="/ppt/charts/chart46.xml" ContentType="application/vnd.openxmlformats-officedocument.drawingml.chart+xml"/>
  <Override PartName="/ppt/charts/chart47.xml" ContentType="application/vnd.openxmlformats-officedocument.drawingml.chart+xml"/>
  <Override PartName="/ppt/charts/chart48.xml" ContentType="application/vnd.openxmlformats-officedocument.drawingml.chart+xml"/>
  <Override PartName="/ppt/charts/chart49.xml" ContentType="application/vnd.openxmlformats-officedocument.drawingml.chart+xml"/>
  <Override PartName="/ppt/charts/chart5.xml" ContentType="application/vnd.openxmlformats-officedocument.drawingml.chart+xml"/>
  <Override PartName="/ppt/charts/chart50.xml" ContentType="application/vnd.openxmlformats-officedocument.drawingml.chart+xml"/>
  <Override PartName="/ppt/charts/chart51.xml" ContentType="application/vnd.openxmlformats-officedocument.drawingml.chart+xml"/>
  <Override PartName="/ppt/charts/chart52.xml" ContentType="application/vnd.openxmlformats-officedocument.drawingml.chart+xml"/>
  <Override PartName="/ppt/charts/chart53.xml" ContentType="application/vnd.openxmlformats-officedocument.drawingml.chart+xml"/>
  <Override PartName="/ppt/charts/chart54.xml" ContentType="application/vnd.openxmlformats-officedocument.drawingml.chart+xml"/>
  <Override PartName="/ppt/charts/chart55.xml" ContentType="application/vnd.openxmlformats-officedocument.drawingml.chart+xml"/>
  <Override PartName="/ppt/charts/chart56.xml" ContentType="application/vnd.openxmlformats-officedocument.drawingml.chart+xml"/>
  <Override PartName="/ppt/charts/chart57.xml" ContentType="application/vnd.openxmlformats-officedocument.drawingml.chart+xml"/>
  <Override PartName="/ppt/charts/chart58.xml" ContentType="application/vnd.openxmlformats-officedocument.drawingml.chart+xml"/>
  <Override PartName="/ppt/charts/chart59.xml" ContentType="application/vnd.openxmlformats-officedocument.drawingml.chart+xml"/>
  <Override PartName="/ppt/charts/chart6.xml" ContentType="application/vnd.openxmlformats-officedocument.drawingml.chart+xml"/>
  <Override PartName="/ppt/charts/chart60.xml" ContentType="application/vnd.openxmlformats-officedocument.drawingml.chart+xml"/>
  <Override PartName="/ppt/charts/chart61.xml" ContentType="application/vnd.openxmlformats-officedocument.drawingml.chart+xml"/>
  <Override PartName="/ppt/charts/chart62.xml" ContentType="application/vnd.openxmlformats-officedocument.drawingml.chart+xml"/>
  <Override PartName="/ppt/charts/chart63.xml" ContentType="application/vnd.openxmlformats-officedocument.drawingml.chart+xml"/>
  <Override PartName="/ppt/charts/chart64.xml" ContentType="application/vnd.openxmlformats-officedocument.drawingml.chart+xml"/>
  <Override PartName="/ppt/charts/chart65.xml" ContentType="application/vnd.openxmlformats-officedocument.drawingml.chart+xml"/>
  <Override PartName="/ppt/charts/chart66.xml" ContentType="application/vnd.openxmlformats-officedocument.drawingml.chart+xml"/>
  <Override PartName="/ppt/charts/chart67.xml" ContentType="application/vnd.openxmlformats-officedocument.drawingml.chart+xml"/>
  <Override PartName="/ppt/charts/chart68.xml" ContentType="application/vnd.openxmlformats-officedocument.drawingml.chart+xml"/>
  <Override PartName="/ppt/charts/chart69.xml" ContentType="application/vnd.openxmlformats-officedocument.drawingml.chart+xml"/>
  <Override PartName="/ppt/charts/chart7.xml" ContentType="application/vnd.openxmlformats-officedocument.drawingml.chart+xml"/>
  <Override PartName="/ppt/charts/chart70.xml" ContentType="application/vnd.openxmlformats-officedocument.drawingml.chart+xml"/>
  <Override PartName="/ppt/charts/chart71.xml" ContentType="application/vnd.openxmlformats-officedocument.drawingml.chart+xml"/>
  <Override PartName="/ppt/charts/chart72.xml" ContentType="application/vnd.openxmlformats-officedocument.drawingml.chart+xml"/>
  <Override PartName="/ppt/charts/chart73.xml" ContentType="application/vnd.openxmlformats-officedocument.drawingml.chart+xml"/>
  <Override PartName="/ppt/charts/chart74.xml" ContentType="application/vnd.openxmlformats-officedocument.drawingml.chart+xml"/>
  <Override PartName="/ppt/charts/chart75.xml" ContentType="application/vnd.openxmlformats-officedocument.drawingml.chart+xml"/>
  <Override PartName="/ppt/charts/chart76.xml" ContentType="application/vnd.openxmlformats-officedocument.drawingml.chart+xml"/>
  <Override PartName="/ppt/charts/chart77.xml" ContentType="application/vnd.openxmlformats-officedocument.drawingml.chart+xml"/>
  <Override PartName="/ppt/charts/chart78.xml" ContentType="application/vnd.openxmlformats-officedocument.drawingml.chart+xml"/>
  <Override PartName="/ppt/charts/chart79.xml" ContentType="application/vnd.openxmlformats-officedocument.drawingml.chart+xml"/>
  <Override PartName="/ppt/charts/chart8.xml" ContentType="application/vnd.openxmlformats-officedocument.drawingml.chart+xml"/>
  <Override PartName="/ppt/charts/chart80.xml" ContentType="application/vnd.openxmlformats-officedocument.drawingml.chart+xml"/>
  <Override PartName="/ppt/charts/chart81.xml" ContentType="application/vnd.openxmlformats-officedocument.drawingml.chart+xml"/>
  <Override PartName="/ppt/charts/chart82.xml" ContentType="application/vnd.openxmlformats-officedocument.drawingml.chart+xml"/>
  <Override PartName="/ppt/charts/chart83.xml" ContentType="application/vnd.openxmlformats-officedocument.drawingml.chart+xml"/>
  <Override PartName="/ppt/charts/chart84.xml" ContentType="application/vnd.openxmlformats-officedocument.drawingml.chart+xml"/>
  <Override PartName="/ppt/charts/chart85.xml" ContentType="application/vnd.openxmlformats-officedocument.drawingml.chart+xml"/>
  <Override PartName="/ppt/charts/chart86.xml" ContentType="application/vnd.openxmlformats-officedocument.drawingml.chart+xml"/>
  <Override PartName="/ppt/charts/chart87.xml" ContentType="application/vnd.openxmlformats-officedocument.drawingml.chart+xml"/>
  <Override PartName="/ppt/charts/chart88.xml" ContentType="application/vnd.openxmlformats-officedocument.drawingml.chart+xml"/>
  <Override PartName="/ppt/charts/chart89.xml" ContentType="application/vnd.openxmlformats-officedocument.drawingml.chart+xml"/>
  <Override PartName="/ppt/charts/chart9.xml" ContentType="application/vnd.openxmlformats-officedocument.drawingml.chart+xml"/>
  <Override PartName="/ppt/charts/chart90.xml" ContentType="application/vnd.openxmlformats-officedocument.drawingml.chart+xml"/>
  <Override PartName="/ppt/charts/chart91.xml" ContentType="application/vnd.openxmlformats-officedocument.drawingml.chart+xml"/>
  <Override PartName="/ppt/charts/chart92.xml" ContentType="application/vnd.openxmlformats-officedocument.drawingml.chart+xml"/>
  <Override PartName="/ppt/charts/chart93.xml" ContentType="application/vnd.openxmlformats-officedocument.drawingml.chart+xml"/>
  <Override PartName="/ppt/charts/chart94.xml" ContentType="application/vnd.openxmlformats-officedocument.drawingml.chart+xml"/>
  <Override PartName="/ppt/charts/chart95.xml" ContentType="application/vnd.openxmlformats-officedocument.drawingml.chart+xml"/>
  <Override PartName="/ppt/charts/chart96.xml" ContentType="application/vnd.openxmlformats-officedocument.drawingml.chart+xml"/>
  <Override PartName="/ppt/charts/chart97.xml" ContentType="application/vnd.openxmlformats-officedocument.drawingml.chart+xml"/>
  <Override PartName="/ppt/charts/chart98.xml" ContentType="application/vnd.openxmlformats-officedocument.drawingml.chart+xml"/>
  <Override PartName="/ppt/charts/chart99.xml" ContentType="application/vnd.openxmlformats-officedocument.drawingml.chart+xml"/>
  <Override PartName="/ppt/embeddings/oleObject1.bin" ContentType="application/vnd.openxmlformats-officedocument.oleObject"/>
  <Override PartName="/ppt/embeddings/oleObject10.bin" ContentType="application/vnd.openxmlformats-officedocument.oleObject"/>
  <Override PartName="/ppt/embeddings/oleObject11.bin" ContentType="application/vnd.openxmlformats-officedocument.oleObject"/>
  <Override PartName="/ppt/embeddings/oleObject12.bin" ContentType="application/vnd.openxmlformats-officedocument.oleObject"/>
  <Override PartName="/ppt/embeddings/oleObject13.bin" ContentType="application/vnd.openxmlformats-officedocument.oleObject"/>
  <Override PartName="/ppt/embeddings/oleObject14.bin" ContentType="application/vnd.openxmlformats-officedocument.oleObject"/>
  <Override PartName="/ppt/embeddings/oleObject15.bin" ContentType="application/vnd.openxmlformats-officedocument.oleObject"/>
  <Override PartName="/ppt/embeddings/oleObject16.bin" ContentType="application/vnd.openxmlformats-officedocument.oleObject"/>
  <Override PartName="/ppt/embeddings/oleObject17.bin" ContentType="application/vnd.openxmlformats-officedocument.oleObject"/>
  <Override PartName="/ppt/embeddings/oleObject18.bin" ContentType="application/vnd.openxmlformats-officedocument.oleObject"/>
  <Override PartName="/ppt/embeddings/oleObject19.bin" ContentType="application/vnd.openxmlformats-officedocument.oleObject"/>
  <Override PartName="/ppt/embeddings/oleObject2.bin" ContentType="application/vnd.openxmlformats-officedocument.oleObject"/>
  <Override PartName="/ppt/embeddings/oleObject20.bin" ContentType="application/vnd.openxmlformats-officedocument.oleObject"/>
  <Override PartName="/ppt/embeddings/oleObject21.bin" ContentType="application/vnd.openxmlformats-officedocument.oleObject"/>
  <Override PartName="/ppt/embeddings/oleObject22.bin" ContentType="application/vnd.openxmlformats-officedocument.oleObject"/>
  <Override PartName="/ppt/embeddings/oleObject23.bin" ContentType="application/vnd.openxmlformats-officedocument.oleObject"/>
  <Override PartName="/ppt/embeddings/oleObject24.bin" ContentType="application/vnd.openxmlformats-officedocument.oleObject"/>
  <Override PartName="/ppt/embeddings/oleObject25.bin" ContentType="application/vnd.openxmlformats-officedocument.oleObject"/>
  <Override PartName="/ppt/embeddings/oleObject26.bin" ContentType="application/vnd.openxmlformats-officedocument.oleObject"/>
  <Override PartName="/ppt/embeddings/oleObject27.bin" ContentType="application/vnd.openxmlformats-officedocument.oleObject"/>
  <Override PartName="/ppt/embeddings/oleObject3.bin" ContentType="application/vnd.openxmlformats-officedocument.oleObject"/>
  <Override PartName="/ppt/embeddings/oleObject4.bin" ContentType="application/vnd.openxmlformats-officedocument.oleObject"/>
  <Override PartName="/ppt/embeddings/oleObject5.bin" ContentType="application/vnd.openxmlformats-officedocument.oleObject"/>
  <Override PartName="/ppt/embeddings/oleObject6.bin" ContentType="application/vnd.openxmlformats-officedocument.oleObject"/>
  <Override PartName="/ppt/embeddings/oleObject7.bin" ContentType="application/vnd.openxmlformats-officedocument.oleObject"/>
  <Override PartName="/ppt/embeddings/oleObject8.bin" ContentType="application/vnd.openxmlformats-officedocument.oleObject"/>
  <Override PartName="/ppt/embeddings/oleObject9.bin" ContentType="application/vnd.openxmlformats-officedocument.oleObject"/>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revisionInfo.xml" ContentType="application/vnd.ms-powerpoint.revisioninfo+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2" Type="http://schemas.openxmlformats.org/package/2006/relationships/metadata/thumbnail" Target="docProps/thumbnail.jpeg"/><Relationship Id="rId3" Type="http://schemas.openxmlformats.org/package/2006/relationships/metadata/core-properties" Target="docProps/core.xml"/><Relationship Id="rId4"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54" r:id="rId4"/>
  </p:sldMasterIdLst>
  <p:notesMasterIdLst>
    <p:notesMasterId r:id="rId32"/>
  </p:notesMasterIdLst>
  <p:sldIdLst>
    <p:sldId id="2147475173" r:id="rId5"/>
    <p:sldId id="2147475174" r:id="rId6"/>
    <p:sldId id="2147475175" r:id="rId7"/>
    <p:sldId id="2147475176" r:id="rId8"/>
    <p:sldId id="2147475177" r:id="rId9"/>
    <p:sldId id="2147475178" r:id="rId10"/>
    <p:sldId id="2147475179" r:id="rId11"/>
    <p:sldId id="2147475180" r:id="rId12"/>
    <p:sldId id="2147475181" r:id="rId13"/>
    <p:sldId id="2147475182" r:id="rId14"/>
    <p:sldId id="2147475183" r:id="rId15"/>
    <p:sldId id="2147475184" r:id="rId16"/>
    <p:sldId id="2147475185" r:id="rId17"/>
    <p:sldId id="2147475186" r:id="rId18"/>
    <p:sldId id="2147475187" r:id="rId19"/>
    <p:sldId id="2147475188" r:id="rId20"/>
    <p:sldId id="2147475189" r:id="rId21"/>
    <p:sldId id="2147475190" r:id="rId22"/>
    <p:sldId id="2147475191" r:id="rId23"/>
    <p:sldId id="2147475192" r:id="rId24"/>
    <p:sldId id="2147475193" r:id="rId25"/>
    <p:sldId id="2147475194" r:id="rId26"/>
    <p:sldId id="2147475195" r:id="rId27"/>
    <p:sldId id="2147475196" r:id="rId28"/>
    <p:sldId id="2147475197" r:id="rId29"/>
    <p:sldId id="2147475198" r:id="rId30"/>
    <p:sldId id="2147475199" r:id="rId31"/>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521415D9-36F7-43E2-AB2F-B90AF26B5E84}">
      <p14:sectionLst xmlns:p14="http://schemas.microsoft.com/office/powerpoint/2010/main">
        <p14:section name="Brackets BY RETAILER" id="{F65B7B73-E414-4527-B6D9-C84F9FCB3B5A}">
          <p14:sldIdLst>
            <p14:sldId id="2147475173"/>
            <p14:sldId id="2147475174"/>
            <p14:sldId id="2147475175"/>
            <p14:sldId id="2147475176"/>
            <p14:sldId id="2147475177"/>
            <p14:sldId id="2147475178"/>
            <p14:sldId id="2147475179"/>
            <p14:sldId id="2147475180"/>
            <p14:sldId id="2147475181"/>
            <p14:sldId id="2147475182"/>
            <p14:sldId id="2147475183"/>
            <p14:sldId id="2147475184"/>
            <p14:sldId id="2147475185"/>
            <p14:sldId id="2147475186"/>
            <p14:sldId id="2147475187"/>
            <p14:sldId id="2147475188"/>
            <p14:sldId id="2147475189"/>
            <p14:sldId id="2147475190"/>
            <p14:sldId id="2147475191"/>
            <p14:sldId id="2147475192"/>
            <p14:sldId id="2147475193"/>
            <p14:sldId id="2147475194"/>
            <p14:sldId id="2147475195"/>
            <p14:sldId id="2147475196"/>
            <p14:sldId id="2147475197"/>
            <p14:sldId id="2147475198"/>
            <p14:sldId id="2147475199"/>
          </p14:sldIdLst>
        </p14:section>
      </p14:sectionLst>
    </p:ext>
    <p:ext uri="{EFAFB233-063F-42B5-8137-9DF3F51BA10A}">
      <p15:sldGuideLst xmlns:p15="http://schemas.microsoft.com/office/powerpoint/2012/main">
        <p15:guide id="1" orient="horz" pos="940" userDrawn="1">
          <p15:clr>
            <a:srgbClr val="5ACBF0"/>
          </p15:clr>
        </p15:guide>
        <p15:guide id="2" pos="2880">
          <p15:clr>
            <a:srgbClr val="A4A3A4"/>
          </p15:clr>
        </p15:guide>
        <p15:guide id="3" orient="horz" pos="1711"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6281CB9-1EF1-2139-7E02-540278F999E7}" name="Bhagya RANASINGHE" initials="BR" userId="S::ranasinghe.b@pricing.one::f8b284ac-7432-45dc-b476-166fd6d429eb"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2EBB4AF-F304-4198-84BF-4A14E134E663}" v="2" dt="2024-10-31T11:06:18.049"/>
    <p1510:client id="{AD118CAC-8D7A-436B-8EC0-E885B730C9B7}" v="6" dt="2024-11-01T10:24:32.959"/>
    <p1510:client id="{FF2E4B7C-C723-43AE-8D55-231AF564B7DE}" v="3" dt="2024-11-01T07:31:13.758"/>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28273" autoAdjust="0"/>
    <p:restoredTop sz="94660"/>
  </p:normalViewPr>
  <p:slideViewPr>
    <p:cSldViewPr snapToGrid="0">
      <p:cViewPr varScale="1">
        <p:scale>
          <a:sx n="85" d="100"/>
          <a:sy n="85" d="100"/>
        </p:scale>
        <p:origin x="444" y="84"/>
      </p:cViewPr>
      <p:guideLst>
        <p:guide orient="horz" pos="940"/>
        <p:guide pos="2880"/>
        <p:guide orient="horz" pos="1711"/>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 Type="http://schemas.openxmlformats.org/officeDocument/2006/relationships/customXml" Target="../customXml/item1.xml"/><Relationship Id="rId2" Type="http://schemas.openxmlformats.org/officeDocument/2006/relationships/customXml" Target="../customXml/item2.xml"/><Relationship Id="rId3" Type="http://schemas.openxmlformats.org/officeDocument/2006/relationships/customXml" Target="../customXml/item3.xml"/><Relationship Id="rId4" Type="http://schemas.openxmlformats.org/officeDocument/2006/relationships/slideMaster" Target="slideMasters/slideMaster1.xml"/><Relationship Id="rId5" Type="http://schemas.openxmlformats.org/officeDocument/2006/relationships/slide" Target="slides/slide1.xml"/><Relationship Id="rId6" Type="http://schemas.openxmlformats.org/officeDocument/2006/relationships/slide" Target="slides/slide2.xml"/><Relationship Id="rId7" Type="http://schemas.openxmlformats.org/officeDocument/2006/relationships/slide" Target="slides/slide3.xml"/><Relationship Id="rId8" Type="http://schemas.openxmlformats.org/officeDocument/2006/relationships/slide" Target="slides/slide4.xml"/><Relationship Id="rId9" Type="http://schemas.openxmlformats.org/officeDocument/2006/relationships/slide" Target="slides/slide5.xml"/><Relationship Id="rId10" Type="http://schemas.openxmlformats.org/officeDocument/2006/relationships/slide" Target="slides/slide6.xml"/><Relationship Id="rId11" Type="http://schemas.openxmlformats.org/officeDocument/2006/relationships/slide" Target="slides/slide7.xml"/><Relationship Id="rId12" Type="http://schemas.openxmlformats.org/officeDocument/2006/relationships/slide" Target="slides/slide8.xml"/><Relationship Id="rId13" Type="http://schemas.openxmlformats.org/officeDocument/2006/relationships/slide" Target="slides/slide9.xml"/><Relationship Id="rId14" Type="http://schemas.openxmlformats.org/officeDocument/2006/relationships/slide" Target="slides/slide10.xml"/><Relationship Id="rId15" Type="http://schemas.openxmlformats.org/officeDocument/2006/relationships/slide" Target="slides/slide11.xml"/><Relationship Id="rId16" Type="http://schemas.openxmlformats.org/officeDocument/2006/relationships/slide" Target="slides/slide12.xml"/><Relationship Id="rId17" Type="http://schemas.openxmlformats.org/officeDocument/2006/relationships/slide" Target="slides/slide13.xml"/><Relationship Id="rId18" Type="http://schemas.openxmlformats.org/officeDocument/2006/relationships/slide" Target="slides/slide14.xml"/><Relationship Id="rId19" Type="http://schemas.openxmlformats.org/officeDocument/2006/relationships/slide" Target="slides/slide15.xml"/><Relationship Id="rId20" Type="http://schemas.openxmlformats.org/officeDocument/2006/relationships/slide" Target="slides/slide16.xml"/><Relationship Id="rId21" Type="http://schemas.openxmlformats.org/officeDocument/2006/relationships/slide" Target="slides/slide17.xml"/><Relationship Id="rId22" Type="http://schemas.openxmlformats.org/officeDocument/2006/relationships/slide" Target="slides/slide18.xml"/><Relationship Id="rId23" Type="http://schemas.openxmlformats.org/officeDocument/2006/relationships/slide" Target="slides/slide19.xml"/><Relationship Id="rId24" Type="http://schemas.openxmlformats.org/officeDocument/2006/relationships/slide" Target="slides/slide20.xml"/><Relationship Id="rId25" Type="http://schemas.openxmlformats.org/officeDocument/2006/relationships/slide" Target="slides/slide21.xml"/><Relationship Id="rId26" Type="http://schemas.openxmlformats.org/officeDocument/2006/relationships/slide" Target="slides/slide22.xml"/><Relationship Id="rId27" Type="http://schemas.openxmlformats.org/officeDocument/2006/relationships/slide" Target="slides/slide23.xml"/><Relationship Id="rId28" Type="http://schemas.openxmlformats.org/officeDocument/2006/relationships/slide" Target="slides/slide24.xml"/><Relationship Id="rId29" Type="http://schemas.openxmlformats.org/officeDocument/2006/relationships/slide" Target="slides/slide25.xml"/><Relationship Id="rId30" Type="http://schemas.openxmlformats.org/officeDocument/2006/relationships/slide" Target="slides/slide26.xml"/><Relationship Id="rId31" Type="http://schemas.openxmlformats.org/officeDocument/2006/relationships/slide" Target="slides/slide27.xml"/><Relationship Id="rId32" Type="http://schemas.openxmlformats.org/officeDocument/2006/relationships/notesMaster" Target="notesMasters/notesMaster1.xml"/><Relationship Id="rId33" Type="http://schemas.openxmlformats.org/officeDocument/2006/relationships/presProps" Target="presProps.xml"/><Relationship Id="rId34" Type="http://schemas.openxmlformats.org/officeDocument/2006/relationships/viewProps" Target="viewProps.xml"/><Relationship Id="rId35" Type="http://schemas.openxmlformats.org/officeDocument/2006/relationships/theme" Target="theme/theme1.xml"/><Relationship Id="rId36" Type="http://schemas.openxmlformats.org/officeDocument/2006/relationships/tableStyles" Target="tableStyles.xml"/><Relationship Id="rId37" Type="http://schemas.microsoft.com/office/2015/10/relationships/revisionInfo" Target="revisionInfo.xml"/><Relationship Id="rId38" Type="http://schemas.microsoft.com/office/2018/10/relationships/authors" Target="author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00.xml.rels><?xml version='1.0' encoding='UTF-8' standalone='yes'?>
<Relationships xmlns="http://schemas.openxmlformats.org/package/2006/relationships"><Relationship Id="rId1" Type="http://schemas.openxmlformats.org/officeDocument/2006/relationships/package" Target="../embeddings/Microsoft_Excel_Worksheet99.xlsx"/></Relationships>
</file>

<file path=ppt/charts/_rels/chart101.xml.rels><?xml version='1.0' encoding='UTF-8' standalone='yes'?>
<Relationships xmlns="http://schemas.openxmlformats.org/package/2006/relationships"><Relationship Id="rId1" Type="http://schemas.openxmlformats.org/officeDocument/2006/relationships/package" Target="../embeddings/Microsoft_Excel_Worksheet100.xlsx"/></Relationships>
</file>

<file path=ppt/charts/_rels/chart102.xml.rels><?xml version='1.0' encoding='UTF-8' standalone='yes'?>
<Relationships xmlns="http://schemas.openxmlformats.org/package/2006/relationships"><Relationship Id="rId1" Type="http://schemas.openxmlformats.org/officeDocument/2006/relationships/package" Target="../embeddings/Microsoft_Excel_Worksheet101.xlsx"/></Relationships>
</file>

<file path=ppt/charts/_rels/chart103.xml.rels><?xml version='1.0' encoding='UTF-8' standalone='yes'?>
<Relationships xmlns="http://schemas.openxmlformats.org/package/2006/relationships"><Relationship Id="rId1" Type="http://schemas.openxmlformats.org/officeDocument/2006/relationships/package" Target="../embeddings/Microsoft_Excel_Worksheet102.xlsx"/></Relationships>
</file>

<file path=ppt/charts/_rels/chart104.xml.rels><?xml version='1.0' encoding='UTF-8' standalone='yes'?>
<Relationships xmlns="http://schemas.openxmlformats.org/package/2006/relationships"><Relationship Id="rId1" Type="http://schemas.openxmlformats.org/officeDocument/2006/relationships/package" Target="../embeddings/Microsoft_Excel_Worksheet103.xlsx"/></Relationships>
</file>

<file path=ppt/charts/_rels/chart105.xml.rels><?xml version='1.0' encoding='UTF-8' standalone='yes'?>
<Relationships xmlns="http://schemas.openxmlformats.org/package/2006/relationships"><Relationship Id="rId1" Type="http://schemas.openxmlformats.org/officeDocument/2006/relationships/package" Target="../embeddings/Microsoft_Excel_Worksheet104.xlsx"/></Relationships>
</file>

<file path=ppt/charts/_rels/chart106.xml.rels><?xml version='1.0' encoding='UTF-8' standalone='yes'?>
<Relationships xmlns="http://schemas.openxmlformats.org/package/2006/relationships"><Relationship Id="rId1" Type="http://schemas.openxmlformats.org/officeDocument/2006/relationships/package" Target="../embeddings/Microsoft_Excel_Worksheet105.xlsx"/></Relationships>
</file>

<file path=ppt/charts/_rels/chart107.xml.rels><?xml version='1.0' encoding='UTF-8' standalone='yes'?>
<Relationships xmlns="http://schemas.openxmlformats.org/package/2006/relationships"><Relationship Id="rId1" Type="http://schemas.openxmlformats.org/officeDocument/2006/relationships/package" Target="../embeddings/Microsoft_Excel_Worksheet106.xlsx"/></Relationships>
</file>

<file path=ppt/charts/_rels/chart108.xml.rels><?xml version='1.0' encoding='UTF-8' standalone='yes'?>
<Relationships xmlns="http://schemas.openxmlformats.org/package/2006/relationships"><Relationship Id="rId1" Type="http://schemas.openxmlformats.org/officeDocument/2006/relationships/package" Target="../embeddings/Microsoft_Excel_Worksheet107.xlsx"/></Relationships>
</file>

<file path=ppt/charts/_rels/chart109.xml.rels><?xml version='1.0' encoding='UTF-8' standalone='yes'?>
<Relationships xmlns="http://schemas.openxmlformats.org/package/2006/relationships"><Relationship Id="rId1" Type="http://schemas.openxmlformats.org/officeDocument/2006/relationships/package" Target="../embeddings/Microsoft_Excel_Worksheet108.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10.xml.rels><?xml version='1.0' encoding='UTF-8' standalone='yes'?>
<Relationships xmlns="http://schemas.openxmlformats.org/package/2006/relationships"><Relationship Id="rId1" Type="http://schemas.openxmlformats.org/officeDocument/2006/relationships/package" Target="../embeddings/Microsoft_Excel_Worksheet109.xlsx"/></Relationships>
</file>

<file path=ppt/charts/_rels/chart111.xml.rels><?xml version='1.0' encoding='UTF-8' standalone='yes'?>
<Relationships xmlns="http://schemas.openxmlformats.org/package/2006/relationships"><Relationship Id="rId1" Type="http://schemas.openxmlformats.org/officeDocument/2006/relationships/package" Target="../embeddings/Microsoft_Excel_Worksheet110.xlsx"/></Relationships>
</file>

<file path=ppt/charts/_rels/chart112.xml.rels><?xml version='1.0' encoding='UTF-8' standalone='yes'?>
<Relationships xmlns="http://schemas.openxmlformats.org/package/2006/relationships"><Relationship Id="rId1" Type="http://schemas.openxmlformats.org/officeDocument/2006/relationships/package" Target="../embeddings/Microsoft_Excel_Worksheet111.xlsx"/></Relationships>
</file>

<file path=ppt/charts/_rels/chart113.xml.rels><?xml version='1.0' encoding='UTF-8' standalone='yes'?>
<Relationships xmlns="http://schemas.openxmlformats.org/package/2006/relationships"><Relationship Id="rId1" Type="http://schemas.openxmlformats.org/officeDocument/2006/relationships/package" Target="../embeddings/Microsoft_Excel_Worksheet112.xlsx"/></Relationships>
</file>

<file path=ppt/charts/_rels/chart114.xml.rels><?xml version='1.0' encoding='UTF-8' standalone='yes'?>
<Relationships xmlns="http://schemas.openxmlformats.org/package/2006/relationships"><Relationship Id="rId1" Type="http://schemas.openxmlformats.org/officeDocument/2006/relationships/package" Target="../embeddings/Microsoft_Excel_Worksheet113.xlsx"/></Relationships>
</file>

<file path=ppt/charts/_rels/chart115.xml.rels><?xml version='1.0' encoding='UTF-8' standalone='yes'?>
<Relationships xmlns="http://schemas.openxmlformats.org/package/2006/relationships"><Relationship Id="rId1" Type="http://schemas.openxmlformats.org/officeDocument/2006/relationships/package" Target="../embeddings/Microsoft_Excel_Worksheet114.xlsx"/></Relationships>
</file>

<file path=ppt/charts/_rels/chart116.xml.rels><?xml version='1.0' encoding='UTF-8' standalone='yes'?>
<Relationships xmlns="http://schemas.openxmlformats.org/package/2006/relationships"><Relationship Id="rId1" Type="http://schemas.openxmlformats.org/officeDocument/2006/relationships/package" Target="../embeddings/Microsoft_Excel_Worksheet115.xlsx"/></Relationships>
</file>

<file path=ppt/charts/_rels/chart117.xml.rels><?xml version='1.0' encoding='UTF-8' standalone='yes'?>
<Relationships xmlns="http://schemas.openxmlformats.org/package/2006/relationships"><Relationship Id="rId1" Type="http://schemas.openxmlformats.org/officeDocument/2006/relationships/package" Target="../embeddings/Microsoft_Excel_Worksheet116.xlsx"/></Relationships>
</file>

<file path=ppt/charts/_rels/chart118.xml.rels><?xml version='1.0' encoding='UTF-8' standalone='yes'?>
<Relationships xmlns="http://schemas.openxmlformats.org/package/2006/relationships"><Relationship Id="rId1" Type="http://schemas.openxmlformats.org/officeDocument/2006/relationships/package" Target="../embeddings/Microsoft_Excel_Worksheet117.xlsx"/></Relationships>
</file>

<file path=ppt/charts/_rels/chart119.xml.rels><?xml version='1.0' encoding='UTF-8' standalone='yes'?>
<Relationships xmlns="http://schemas.openxmlformats.org/package/2006/relationships"><Relationship Id="rId1" Type="http://schemas.openxmlformats.org/officeDocument/2006/relationships/package" Target="../embeddings/Microsoft_Excel_Worksheet118.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120.xml.rels><?xml version='1.0' encoding='UTF-8' standalone='yes'?>
<Relationships xmlns="http://schemas.openxmlformats.org/package/2006/relationships"><Relationship Id="rId1" Type="http://schemas.openxmlformats.org/officeDocument/2006/relationships/package" Target="../embeddings/Microsoft_Excel_Worksheet119.xlsx"/></Relationships>
</file>

<file path=ppt/charts/_rels/chart121.xml.rels><?xml version='1.0' encoding='UTF-8' standalone='yes'?>
<Relationships xmlns="http://schemas.openxmlformats.org/package/2006/relationships"><Relationship Id="rId1" Type="http://schemas.openxmlformats.org/officeDocument/2006/relationships/package" Target="../embeddings/Microsoft_Excel_Worksheet120.xlsx"/></Relationships>
</file>

<file path=ppt/charts/_rels/chart122.xml.rels><?xml version='1.0' encoding='UTF-8' standalone='yes'?>
<Relationships xmlns="http://schemas.openxmlformats.org/package/2006/relationships"><Relationship Id="rId1" Type="http://schemas.openxmlformats.org/officeDocument/2006/relationships/package" Target="../embeddings/Microsoft_Excel_Worksheet121.xlsx"/></Relationships>
</file>

<file path=ppt/charts/_rels/chart123.xml.rels><?xml version='1.0' encoding='UTF-8' standalone='yes'?>
<Relationships xmlns="http://schemas.openxmlformats.org/package/2006/relationships"><Relationship Id="rId1" Type="http://schemas.openxmlformats.org/officeDocument/2006/relationships/package" Target="../embeddings/Microsoft_Excel_Worksheet122.xlsx"/></Relationships>
</file>

<file path=ppt/charts/_rels/chart124.xml.rels><?xml version='1.0' encoding='UTF-8' standalone='yes'?>
<Relationships xmlns="http://schemas.openxmlformats.org/package/2006/relationships"><Relationship Id="rId1" Type="http://schemas.openxmlformats.org/officeDocument/2006/relationships/package" Target="../embeddings/Microsoft_Excel_Worksheet123.xlsx"/></Relationships>
</file>

<file path=ppt/charts/_rels/chart125.xml.rels><?xml version='1.0' encoding='UTF-8' standalone='yes'?>
<Relationships xmlns="http://schemas.openxmlformats.org/package/2006/relationships"><Relationship Id="rId1" Type="http://schemas.openxmlformats.org/officeDocument/2006/relationships/package" Target="../embeddings/Microsoft_Excel_Worksheet124.xlsx"/></Relationships>
</file>

<file path=ppt/charts/_rels/chart126.xml.rels><?xml version='1.0' encoding='UTF-8' standalone='yes'?>
<Relationships xmlns="http://schemas.openxmlformats.org/package/2006/relationships"><Relationship Id="rId1" Type="http://schemas.openxmlformats.org/officeDocument/2006/relationships/package" Target="../embeddings/Microsoft_Excel_Worksheet125.xlsx"/></Relationships>
</file>

<file path=ppt/charts/_rels/chart127.xml.rels><?xml version='1.0' encoding='UTF-8' standalone='yes'?>
<Relationships xmlns="http://schemas.openxmlformats.org/package/2006/relationships"><Relationship Id="rId1" Type="http://schemas.openxmlformats.org/officeDocument/2006/relationships/package" Target="../embeddings/Microsoft_Excel_Worksheet126.xlsx"/></Relationships>
</file>

<file path=ppt/charts/_rels/chart128.xml.rels><?xml version='1.0' encoding='UTF-8' standalone='yes'?>
<Relationships xmlns="http://schemas.openxmlformats.org/package/2006/relationships"><Relationship Id="rId1" Type="http://schemas.openxmlformats.org/officeDocument/2006/relationships/package" Target="../embeddings/Microsoft_Excel_Worksheet127.xlsx"/></Relationships>
</file>

<file path=ppt/charts/_rels/chart129.xml.rels><?xml version='1.0' encoding='UTF-8' standalone='yes'?>
<Relationships xmlns="http://schemas.openxmlformats.org/package/2006/relationships"><Relationship Id="rId1" Type="http://schemas.openxmlformats.org/officeDocument/2006/relationships/package" Target="../embeddings/Microsoft_Excel_Worksheet128.xlsx"/></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130.xml.rels><?xml version='1.0' encoding='UTF-8' standalone='yes'?>
<Relationships xmlns="http://schemas.openxmlformats.org/package/2006/relationships"><Relationship Id="rId1" Type="http://schemas.openxmlformats.org/officeDocument/2006/relationships/package" Target="../embeddings/Microsoft_Excel_Worksheet129.xlsx"/></Relationships>
</file>

<file path=ppt/charts/_rels/chart131.xml.rels><?xml version='1.0' encoding='UTF-8' standalone='yes'?>
<Relationships xmlns="http://schemas.openxmlformats.org/package/2006/relationships"><Relationship Id="rId1" Type="http://schemas.openxmlformats.org/officeDocument/2006/relationships/package" Target="../embeddings/Microsoft_Excel_Worksheet130.xlsx"/></Relationships>
</file>

<file path=ppt/charts/_rels/chart132.xml.rels><?xml version='1.0' encoding='UTF-8' standalone='yes'?>
<Relationships xmlns="http://schemas.openxmlformats.org/package/2006/relationships"><Relationship Id="rId1" Type="http://schemas.openxmlformats.org/officeDocument/2006/relationships/package" Target="../embeddings/Microsoft_Excel_Worksheet131.xlsx"/></Relationships>
</file>

<file path=ppt/charts/_rels/chart133.xml.rels><?xml version='1.0' encoding='UTF-8' standalone='yes'?>
<Relationships xmlns="http://schemas.openxmlformats.org/package/2006/relationships"><Relationship Id="rId1" Type="http://schemas.openxmlformats.org/officeDocument/2006/relationships/package" Target="../embeddings/Microsoft_Excel_Worksheet132.xlsx"/></Relationships>
</file>

<file path=ppt/charts/_rels/chart134.xml.rels><?xml version='1.0' encoding='UTF-8' standalone='yes'?>
<Relationships xmlns="http://schemas.openxmlformats.org/package/2006/relationships"><Relationship Id="rId1" Type="http://schemas.openxmlformats.org/officeDocument/2006/relationships/package" Target="../embeddings/Microsoft_Excel_Worksheet133.xlsx"/></Relationships>
</file>

<file path=ppt/charts/_rels/chart135.xml.rels><?xml version='1.0' encoding='UTF-8' standalone='yes'?>
<Relationships xmlns="http://schemas.openxmlformats.org/package/2006/relationships"><Relationship Id="rId1" Type="http://schemas.openxmlformats.org/officeDocument/2006/relationships/package" Target="../embeddings/Microsoft_Excel_Worksheet134.xlsx"/></Relationships>
</file>

<file path=ppt/charts/_rels/chart136.xml.rels><?xml version='1.0' encoding='UTF-8' standalone='yes'?>
<Relationships xmlns="http://schemas.openxmlformats.org/package/2006/relationships"><Relationship Id="rId1" Type="http://schemas.openxmlformats.org/officeDocument/2006/relationships/package" Target="../embeddings/Microsoft_Excel_Worksheet135.xlsx"/></Relationships>
</file>

<file path=ppt/charts/_rels/chart137.xml.rels><?xml version='1.0' encoding='UTF-8' standalone='yes'?>
<Relationships xmlns="http://schemas.openxmlformats.org/package/2006/relationships"><Relationship Id="rId1" Type="http://schemas.openxmlformats.org/officeDocument/2006/relationships/package" Target="../embeddings/Microsoft_Excel_Worksheet136.xlsx"/></Relationships>
</file>

<file path=ppt/charts/_rels/chart138.xml.rels><?xml version='1.0' encoding='UTF-8' standalone='yes'?>
<Relationships xmlns="http://schemas.openxmlformats.org/package/2006/relationships"><Relationship Id="rId1" Type="http://schemas.openxmlformats.org/officeDocument/2006/relationships/package" Target="../embeddings/Microsoft_Excel_Worksheet137.xlsx"/></Relationships>
</file>

<file path=ppt/charts/_rels/chart139.xml.rels><?xml version='1.0' encoding='UTF-8' standalone='yes'?>
<Relationships xmlns="http://schemas.openxmlformats.org/package/2006/relationships"><Relationship Id="rId1" Type="http://schemas.openxmlformats.org/officeDocument/2006/relationships/package" Target="../embeddings/Microsoft_Excel_Worksheet138.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140.xml.rels><?xml version='1.0' encoding='UTF-8' standalone='yes'?>
<Relationships xmlns="http://schemas.openxmlformats.org/package/2006/relationships"><Relationship Id="rId1" Type="http://schemas.openxmlformats.org/officeDocument/2006/relationships/package" Target="../embeddings/Microsoft_Excel_Worksheet139.xlsx"/></Relationships>
</file>

<file path=ppt/charts/_rels/chart141.xml.rels><?xml version='1.0' encoding='UTF-8' standalone='yes'?>
<Relationships xmlns="http://schemas.openxmlformats.org/package/2006/relationships"><Relationship Id="rId1" Type="http://schemas.openxmlformats.org/officeDocument/2006/relationships/package" Target="../embeddings/Microsoft_Excel_Worksheet140.xlsx"/></Relationships>
</file>

<file path=ppt/charts/_rels/chart142.xml.rels><?xml version='1.0' encoding='UTF-8' standalone='yes'?>
<Relationships xmlns="http://schemas.openxmlformats.org/package/2006/relationships"><Relationship Id="rId1" Type="http://schemas.openxmlformats.org/officeDocument/2006/relationships/package" Target="../embeddings/Microsoft_Excel_Worksheet141.xlsx"/></Relationships>
</file>

<file path=ppt/charts/_rels/chart143.xml.rels><?xml version='1.0' encoding='UTF-8' standalone='yes'?>
<Relationships xmlns="http://schemas.openxmlformats.org/package/2006/relationships"><Relationship Id="rId1" Type="http://schemas.openxmlformats.org/officeDocument/2006/relationships/package" Target="../embeddings/Microsoft_Excel_Worksheet142.xlsx"/></Relationships>
</file>

<file path=ppt/charts/_rels/chart144.xml.rels><?xml version='1.0' encoding='UTF-8' standalone='yes'?>
<Relationships xmlns="http://schemas.openxmlformats.org/package/2006/relationships"><Relationship Id="rId1" Type="http://schemas.openxmlformats.org/officeDocument/2006/relationships/package" Target="../embeddings/Microsoft_Excel_Worksheet143.xlsx"/></Relationships>
</file>

<file path=ppt/charts/_rels/chart145.xml.rels><?xml version='1.0' encoding='UTF-8' standalone='yes'?>
<Relationships xmlns="http://schemas.openxmlformats.org/package/2006/relationships"><Relationship Id="rId1" Type="http://schemas.openxmlformats.org/officeDocument/2006/relationships/package" Target="../embeddings/Microsoft_Excel_Worksheet144.xlsx"/></Relationships>
</file>

<file path=ppt/charts/_rels/chart146.xml.rels><?xml version='1.0' encoding='UTF-8' standalone='yes'?>
<Relationships xmlns="http://schemas.openxmlformats.org/package/2006/relationships"><Relationship Id="rId1" Type="http://schemas.openxmlformats.org/officeDocument/2006/relationships/package" Target="../embeddings/Microsoft_Excel_Worksheet145.xlsx"/></Relationships>
</file>

<file path=ppt/charts/_rels/chart147.xml.rels><?xml version='1.0' encoding='UTF-8' standalone='yes'?>
<Relationships xmlns="http://schemas.openxmlformats.org/package/2006/relationships"><Relationship Id="rId1" Type="http://schemas.openxmlformats.org/officeDocument/2006/relationships/package" Target="../embeddings/Microsoft_Excel_Worksheet146.xlsx"/></Relationships>
</file>

<file path=ppt/charts/_rels/chart148.xml.rels><?xml version='1.0' encoding='UTF-8' standalone='yes'?>
<Relationships xmlns="http://schemas.openxmlformats.org/package/2006/relationships"><Relationship Id="rId1" Type="http://schemas.openxmlformats.org/officeDocument/2006/relationships/package" Target="../embeddings/Microsoft_Excel_Worksheet147.xlsx"/></Relationships>
</file>

<file path=ppt/charts/_rels/chart149.xml.rels><?xml version='1.0' encoding='UTF-8' standalone='yes'?>
<Relationships xmlns="http://schemas.openxmlformats.org/package/2006/relationships"><Relationship Id="rId1" Type="http://schemas.openxmlformats.org/officeDocument/2006/relationships/package" Target="../embeddings/Microsoft_Excel_Worksheet148.xlsx"/></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Worksheet14.xlsx"/></Relationships>
</file>

<file path=ppt/charts/_rels/chart150.xml.rels><?xml version='1.0' encoding='UTF-8' standalone='yes'?>
<Relationships xmlns="http://schemas.openxmlformats.org/package/2006/relationships"><Relationship Id="rId1" Type="http://schemas.openxmlformats.org/officeDocument/2006/relationships/package" Target="../embeddings/Microsoft_Excel_Worksheet149.xlsx"/></Relationships>
</file>

<file path=ppt/charts/_rels/chart151.xml.rels><?xml version='1.0' encoding='UTF-8' standalone='yes'?>
<Relationships xmlns="http://schemas.openxmlformats.org/package/2006/relationships"><Relationship Id="rId1" Type="http://schemas.openxmlformats.org/officeDocument/2006/relationships/package" Target="../embeddings/Microsoft_Excel_Worksheet150.xlsx"/></Relationships>
</file>

<file path=ppt/charts/_rels/chart152.xml.rels><?xml version='1.0' encoding='UTF-8' standalone='yes'?>
<Relationships xmlns="http://schemas.openxmlformats.org/package/2006/relationships"><Relationship Id="rId1" Type="http://schemas.openxmlformats.org/officeDocument/2006/relationships/package" Target="../embeddings/Microsoft_Excel_Worksheet151.xlsx"/></Relationships>
</file>

<file path=ppt/charts/_rels/chart153.xml.rels><?xml version='1.0' encoding='UTF-8' standalone='yes'?>
<Relationships xmlns="http://schemas.openxmlformats.org/package/2006/relationships"><Relationship Id="rId1" Type="http://schemas.openxmlformats.org/officeDocument/2006/relationships/package" Target="../embeddings/Microsoft_Excel_Worksheet152.xlsx"/></Relationships>
</file>

<file path=ppt/charts/_rels/chart154.xml.rels><?xml version='1.0' encoding='UTF-8' standalone='yes'?>
<Relationships xmlns="http://schemas.openxmlformats.org/package/2006/relationships"><Relationship Id="rId1" Type="http://schemas.openxmlformats.org/officeDocument/2006/relationships/package" Target="../embeddings/Microsoft_Excel_Worksheet153.xlsx"/></Relationships>
</file>

<file path=ppt/charts/_rels/chart155.xml.rels><?xml version='1.0' encoding='UTF-8' standalone='yes'?>
<Relationships xmlns="http://schemas.openxmlformats.org/package/2006/relationships"><Relationship Id="rId1" Type="http://schemas.openxmlformats.org/officeDocument/2006/relationships/package" Target="../embeddings/Microsoft_Excel_Worksheet154.xlsx"/></Relationships>
</file>

<file path=ppt/charts/_rels/chart156.xml.rels><?xml version='1.0' encoding='UTF-8' standalone='yes'?>
<Relationships xmlns="http://schemas.openxmlformats.org/package/2006/relationships"><Relationship Id="rId1" Type="http://schemas.openxmlformats.org/officeDocument/2006/relationships/package" Target="../embeddings/Microsoft_Excel_Worksheet155.xlsx"/></Relationships>
</file>

<file path=ppt/charts/_rels/chart157.xml.rels><?xml version='1.0' encoding='UTF-8' standalone='yes'?>
<Relationships xmlns="http://schemas.openxmlformats.org/package/2006/relationships"><Relationship Id="rId1" Type="http://schemas.openxmlformats.org/officeDocument/2006/relationships/package" Target="../embeddings/Microsoft_Excel_Worksheet156.xlsx"/></Relationships>
</file>

<file path=ppt/charts/_rels/chart158.xml.rels><?xml version='1.0' encoding='UTF-8' standalone='yes'?>
<Relationships xmlns="http://schemas.openxmlformats.org/package/2006/relationships"><Relationship Id="rId1" Type="http://schemas.openxmlformats.org/officeDocument/2006/relationships/package" Target="../embeddings/Microsoft_Excel_Worksheet157.xlsx"/></Relationships>
</file>

<file path=ppt/charts/_rels/chart159.xml.rels><?xml version='1.0' encoding='UTF-8' standalone='yes'?>
<Relationships xmlns="http://schemas.openxmlformats.org/package/2006/relationships"><Relationship Id="rId1" Type="http://schemas.openxmlformats.org/officeDocument/2006/relationships/package" Target="../embeddings/Microsoft_Excel_Worksheet158.xlsx"/></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160.xml.rels><?xml version='1.0' encoding='UTF-8' standalone='yes'?>
<Relationships xmlns="http://schemas.openxmlformats.org/package/2006/relationships"><Relationship Id="rId1" Type="http://schemas.openxmlformats.org/officeDocument/2006/relationships/package" Target="../embeddings/Microsoft_Excel_Worksheet159.xlsx"/></Relationships>
</file>

<file path=ppt/charts/_rels/chart161.xml.rels><?xml version='1.0' encoding='UTF-8' standalone='yes'?>
<Relationships xmlns="http://schemas.openxmlformats.org/package/2006/relationships"><Relationship Id="rId1" Type="http://schemas.openxmlformats.org/officeDocument/2006/relationships/package" Target="../embeddings/Microsoft_Excel_Worksheet160.xlsx"/></Relationships>
</file>

<file path=ppt/charts/_rels/chart162.xml.rels><?xml version='1.0' encoding='UTF-8' standalone='yes'?>
<Relationships xmlns="http://schemas.openxmlformats.org/package/2006/relationships"><Relationship Id="rId1" Type="http://schemas.openxmlformats.org/officeDocument/2006/relationships/package" Target="../embeddings/Microsoft_Excel_Worksheet161.xlsx"/></Relationships>
</file>

<file path=ppt/charts/_rels/chart163.xml.rels><?xml version='1.0' encoding='UTF-8' standalone='yes'?>
<Relationships xmlns="http://schemas.openxmlformats.org/package/2006/relationships"><Relationship Id="rId1" Type="http://schemas.openxmlformats.org/officeDocument/2006/relationships/package" Target="../embeddings/Microsoft_Excel_Worksheet162.xlsx"/></Relationships>
</file>

<file path=ppt/charts/_rels/chart164.xml.rels><?xml version='1.0' encoding='UTF-8' standalone='yes'?>
<Relationships xmlns="http://schemas.openxmlformats.org/package/2006/relationships"><Relationship Id="rId1" Type="http://schemas.openxmlformats.org/officeDocument/2006/relationships/package" Target="../embeddings/Microsoft_Excel_Worksheet163.xlsx"/></Relationships>
</file>

<file path=ppt/charts/_rels/chart165.xml.rels><?xml version='1.0' encoding='UTF-8' standalone='yes'?>
<Relationships xmlns="http://schemas.openxmlformats.org/package/2006/relationships"><Relationship Id="rId1" Type="http://schemas.openxmlformats.org/officeDocument/2006/relationships/package" Target="../embeddings/Microsoft_Excel_Worksheet164.xlsx"/></Relationships>
</file>

<file path=ppt/charts/_rels/chart166.xml.rels><?xml version='1.0' encoding='UTF-8' standalone='yes'?>
<Relationships xmlns="http://schemas.openxmlformats.org/package/2006/relationships"><Relationship Id="rId1" Type="http://schemas.openxmlformats.org/officeDocument/2006/relationships/package" Target="../embeddings/Microsoft_Excel_Worksheet165.xlsx"/></Relationships>
</file>

<file path=ppt/charts/_rels/chart167.xml.rels><?xml version='1.0' encoding='UTF-8' standalone='yes'?>
<Relationships xmlns="http://schemas.openxmlformats.org/package/2006/relationships"><Relationship Id="rId1" Type="http://schemas.openxmlformats.org/officeDocument/2006/relationships/package" Target="../embeddings/Microsoft_Excel_Worksheet166.xlsx"/></Relationships>
</file>

<file path=ppt/charts/_rels/chart168.xml.rels><?xml version='1.0' encoding='UTF-8' standalone='yes'?>
<Relationships xmlns="http://schemas.openxmlformats.org/package/2006/relationships"><Relationship Id="rId1" Type="http://schemas.openxmlformats.org/officeDocument/2006/relationships/package" Target="../embeddings/Microsoft_Excel_Worksheet167.xlsx"/></Relationships>
</file>

<file path=ppt/charts/_rels/chart169.xml.rels><?xml version='1.0' encoding='UTF-8' standalone='yes'?>
<Relationships xmlns="http://schemas.openxmlformats.org/package/2006/relationships"><Relationship Id="rId1" Type="http://schemas.openxmlformats.org/officeDocument/2006/relationships/package" Target="../embeddings/Microsoft_Excel_Worksheet168.xlsx"/></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Worksheet16.xlsx"/></Relationships>
</file>

<file path=ppt/charts/_rels/chart170.xml.rels><?xml version='1.0' encoding='UTF-8' standalone='yes'?>
<Relationships xmlns="http://schemas.openxmlformats.org/package/2006/relationships"><Relationship Id="rId1" Type="http://schemas.openxmlformats.org/officeDocument/2006/relationships/package" Target="../embeddings/Microsoft_Excel_Worksheet169.xlsx"/></Relationships>
</file>

<file path=ppt/charts/_rels/chart171.xml.rels><?xml version='1.0' encoding='UTF-8' standalone='yes'?>
<Relationships xmlns="http://schemas.openxmlformats.org/package/2006/relationships"><Relationship Id="rId1" Type="http://schemas.openxmlformats.org/officeDocument/2006/relationships/package" Target="../embeddings/Microsoft_Excel_Worksheet170.xlsx"/></Relationships>
</file>

<file path=ppt/charts/_rels/chart172.xml.rels><?xml version='1.0' encoding='UTF-8' standalone='yes'?>
<Relationships xmlns="http://schemas.openxmlformats.org/package/2006/relationships"><Relationship Id="rId1" Type="http://schemas.openxmlformats.org/officeDocument/2006/relationships/package" Target="../embeddings/Microsoft_Excel_Worksheet171.xlsx"/></Relationships>
</file>

<file path=ppt/charts/_rels/chart173.xml.rels><?xml version='1.0' encoding='UTF-8' standalone='yes'?>
<Relationships xmlns="http://schemas.openxmlformats.org/package/2006/relationships"><Relationship Id="rId1" Type="http://schemas.openxmlformats.org/officeDocument/2006/relationships/package" Target="../embeddings/Microsoft_Excel_Worksheet172.xlsx"/></Relationships>
</file>

<file path=ppt/charts/_rels/chart174.xml.rels><?xml version='1.0' encoding='UTF-8' standalone='yes'?>
<Relationships xmlns="http://schemas.openxmlformats.org/package/2006/relationships"><Relationship Id="rId1" Type="http://schemas.openxmlformats.org/officeDocument/2006/relationships/package" Target="../embeddings/Microsoft_Excel_Worksheet173.xlsx"/></Relationships>
</file>

<file path=ppt/charts/_rels/chart175.xml.rels><?xml version='1.0' encoding='UTF-8' standalone='yes'?>
<Relationships xmlns="http://schemas.openxmlformats.org/package/2006/relationships"><Relationship Id="rId1" Type="http://schemas.openxmlformats.org/officeDocument/2006/relationships/package" Target="../embeddings/Microsoft_Excel_Worksheet174.xlsx"/></Relationships>
</file>

<file path=ppt/charts/_rels/chart176.xml.rels><?xml version='1.0' encoding='UTF-8' standalone='yes'?>
<Relationships xmlns="http://schemas.openxmlformats.org/package/2006/relationships"><Relationship Id="rId1" Type="http://schemas.openxmlformats.org/officeDocument/2006/relationships/package" Target="../embeddings/Microsoft_Excel_Worksheet175.xlsx"/></Relationships>
</file>

<file path=ppt/charts/_rels/chart177.xml.rels><?xml version='1.0' encoding='UTF-8' standalone='yes'?>
<Relationships xmlns="http://schemas.openxmlformats.org/package/2006/relationships"><Relationship Id="rId1" Type="http://schemas.openxmlformats.org/officeDocument/2006/relationships/package" Target="../embeddings/Microsoft_Excel_Worksheet176.xlsx"/></Relationships>
</file>

<file path=ppt/charts/_rels/chart178.xml.rels><?xml version='1.0' encoding='UTF-8' standalone='yes'?>
<Relationships xmlns="http://schemas.openxmlformats.org/package/2006/relationships"><Relationship Id="rId1" Type="http://schemas.openxmlformats.org/officeDocument/2006/relationships/package" Target="../embeddings/Microsoft_Excel_Worksheet177.xlsx"/></Relationships>
</file>

<file path=ppt/charts/_rels/chart179.xml.rels><?xml version='1.0' encoding='UTF-8' standalone='yes'?>
<Relationships xmlns="http://schemas.openxmlformats.org/package/2006/relationships"><Relationship Id="rId1" Type="http://schemas.openxmlformats.org/officeDocument/2006/relationships/package" Target="../embeddings/Microsoft_Excel_Worksheet178.xlsx"/></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Worksheet17.xlsx"/></Relationships>
</file>

<file path=ppt/charts/_rels/chart180.xml.rels><?xml version='1.0' encoding='UTF-8' standalone='yes'?>
<Relationships xmlns="http://schemas.openxmlformats.org/package/2006/relationships"><Relationship Id="rId1" Type="http://schemas.openxmlformats.org/officeDocument/2006/relationships/package" Target="../embeddings/Microsoft_Excel_Worksheet179.xlsx"/></Relationships>
</file>

<file path=ppt/charts/_rels/chart181.xml.rels><?xml version='1.0' encoding='UTF-8' standalone='yes'?>
<Relationships xmlns="http://schemas.openxmlformats.org/package/2006/relationships"><Relationship Id="rId1" Type="http://schemas.openxmlformats.org/officeDocument/2006/relationships/package" Target="../embeddings/Microsoft_Excel_Worksheet180.xlsx"/></Relationships>
</file>

<file path=ppt/charts/_rels/chart182.xml.rels><?xml version='1.0' encoding='UTF-8' standalone='yes'?>
<Relationships xmlns="http://schemas.openxmlformats.org/package/2006/relationships"><Relationship Id="rId1" Type="http://schemas.openxmlformats.org/officeDocument/2006/relationships/package" Target="../embeddings/Microsoft_Excel_Worksheet181.xlsx"/></Relationships>
</file>

<file path=ppt/charts/_rels/chart183.xml.rels><?xml version='1.0' encoding='UTF-8' standalone='yes'?>
<Relationships xmlns="http://schemas.openxmlformats.org/package/2006/relationships"><Relationship Id="rId1" Type="http://schemas.openxmlformats.org/officeDocument/2006/relationships/package" Target="../embeddings/Microsoft_Excel_Worksheet182.xlsx"/></Relationships>
</file>

<file path=ppt/charts/_rels/chart184.xml.rels><?xml version='1.0' encoding='UTF-8' standalone='yes'?>
<Relationships xmlns="http://schemas.openxmlformats.org/package/2006/relationships"><Relationship Id="rId1" Type="http://schemas.openxmlformats.org/officeDocument/2006/relationships/package" Target="../embeddings/Microsoft_Excel_Worksheet183.xlsx"/></Relationships>
</file>

<file path=ppt/charts/_rels/chart185.xml.rels><?xml version='1.0' encoding='UTF-8' standalone='yes'?>
<Relationships xmlns="http://schemas.openxmlformats.org/package/2006/relationships"><Relationship Id="rId1" Type="http://schemas.openxmlformats.org/officeDocument/2006/relationships/package" Target="../embeddings/Microsoft_Excel_Worksheet184.xlsx"/></Relationships>
</file>

<file path=ppt/charts/_rels/chart186.xml.rels><?xml version='1.0' encoding='UTF-8' standalone='yes'?>
<Relationships xmlns="http://schemas.openxmlformats.org/package/2006/relationships"><Relationship Id="rId1" Type="http://schemas.openxmlformats.org/officeDocument/2006/relationships/package" Target="../embeddings/Microsoft_Excel_Worksheet185.xlsx"/></Relationships>
</file>

<file path=ppt/charts/_rels/chart187.xml.rels><?xml version='1.0' encoding='UTF-8' standalone='yes'?>
<Relationships xmlns="http://schemas.openxmlformats.org/package/2006/relationships"><Relationship Id="rId1" Type="http://schemas.openxmlformats.org/officeDocument/2006/relationships/package" Target="../embeddings/Microsoft_Excel_Worksheet186.xlsx"/></Relationships>
</file>

<file path=ppt/charts/_rels/chart188.xml.rels><?xml version='1.0' encoding='UTF-8' standalone='yes'?>
<Relationships xmlns="http://schemas.openxmlformats.org/package/2006/relationships"><Relationship Id="rId1" Type="http://schemas.openxmlformats.org/officeDocument/2006/relationships/package" Target="../embeddings/Microsoft_Excel_Worksheet187.xlsx"/></Relationships>
</file>

<file path=ppt/charts/_rels/chart189.xml.rels><?xml version='1.0' encoding='UTF-8' standalone='yes'?>
<Relationships xmlns="http://schemas.openxmlformats.org/package/2006/relationships"><Relationship Id="rId1" Type="http://schemas.openxmlformats.org/officeDocument/2006/relationships/package" Target="../embeddings/Microsoft_Excel_Worksheet188.xlsx"/></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Worksheet18.xlsx"/></Relationships>
</file>

<file path=ppt/charts/_rels/chart190.xml.rels><?xml version='1.0' encoding='UTF-8' standalone='yes'?>
<Relationships xmlns="http://schemas.openxmlformats.org/package/2006/relationships"><Relationship Id="rId1" Type="http://schemas.openxmlformats.org/officeDocument/2006/relationships/package" Target="../embeddings/Microsoft_Excel_Worksheet189.xlsx"/></Relationships>
</file>

<file path=ppt/charts/_rels/chart191.xml.rels><?xml version='1.0' encoding='UTF-8' standalone='yes'?>
<Relationships xmlns="http://schemas.openxmlformats.org/package/2006/relationships"><Relationship Id="rId1" Type="http://schemas.openxmlformats.org/officeDocument/2006/relationships/package" Target="../embeddings/Microsoft_Excel_Worksheet190.xlsx"/></Relationships>
</file>

<file path=ppt/charts/_rels/chart192.xml.rels><?xml version='1.0' encoding='UTF-8' standalone='yes'?>
<Relationships xmlns="http://schemas.openxmlformats.org/package/2006/relationships"><Relationship Id="rId1" Type="http://schemas.openxmlformats.org/officeDocument/2006/relationships/package" Target="../embeddings/Microsoft_Excel_Worksheet191.xlsx"/></Relationships>
</file>

<file path=ppt/charts/_rels/chart193.xml.rels><?xml version='1.0' encoding='UTF-8' standalone='yes'?>
<Relationships xmlns="http://schemas.openxmlformats.org/package/2006/relationships"><Relationship Id="rId1" Type="http://schemas.openxmlformats.org/officeDocument/2006/relationships/package" Target="../embeddings/Microsoft_Excel_Worksheet192.xlsx"/></Relationships>
</file>

<file path=ppt/charts/_rels/chart194.xml.rels><?xml version='1.0' encoding='UTF-8' standalone='yes'?>
<Relationships xmlns="http://schemas.openxmlformats.org/package/2006/relationships"><Relationship Id="rId1" Type="http://schemas.openxmlformats.org/officeDocument/2006/relationships/package" Target="../embeddings/Microsoft_Excel_Worksheet193.xlsx"/></Relationships>
</file>

<file path=ppt/charts/_rels/chart195.xml.rels><?xml version='1.0' encoding='UTF-8' standalone='yes'?>
<Relationships xmlns="http://schemas.openxmlformats.org/package/2006/relationships"><Relationship Id="rId1" Type="http://schemas.openxmlformats.org/officeDocument/2006/relationships/package" Target="../embeddings/Microsoft_Excel_Worksheet194.xlsx"/></Relationships>
</file>

<file path=ppt/charts/_rels/chart196.xml.rels><?xml version='1.0' encoding='UTF-8' standalone='yes'?>
<Relationships xmlns="http://schemas.openxmlformats.org/package/2006/relationships"><Relationship Id="rId1" Type="http://schemas.openxmlformats.org/officeDocument/2006/relationships/package" Target="../embeddings/Microsoft_Excel_Worksheet195.xlsx"/></Relationships>
</file>

<file path=ppt/charts/_rels/chart197.xml.rels><?xml version='1.0' encoding='UTF-8' standalone='yes'?>
<Relationships xmlns="http://schemas.openxmlformats.org/package/2006/relationships"><Relationship Id="rId1" Type="http://schemas.openxmlformats.org/officeDocument/2006/relationships/package" Target="../embeddings/Microsoft_Excel_Worksheet196.xlsx"/></Relationships>
</file>

<file path=ppt/charts/_rels/chart198.xml.rels><?xml version='1.0' encoding='UTF-8' standalone='yes'?>
<Relationships xmlns="http://schemas.openxmlformats.org/package/2006/relationships"><Relationship Id="rId1" Type="http://schemas.openxmlformats.org/officeDocument/2006/relationships/package" Target="../embeddings/Microsoft_Excel_Worksheet197.xlsx"/></Relationships>
</file>

<file path=ppt/charts/_rels/chart199.xml.rels><?xml version='1.0' encoding='UTF-8' standalone='yes'?>
<Relationships xmlns="http://schemas.openxmlformats.org/package/2006/relationships"><Relationship Id="rId1" Type="http://schemas.openxmlformats.org/officeDocument/2006/relationships/package" Target="../embeddings/Microsoft_Excel_Worksheet198.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Worksheet19.xlsx"/></Relationships>
</file>

<file path=ppt/charts/_rels/chart200.xml.rels><?xml version='1.0' encoding='UTF-8' standalone='yes'?>
<Relationships xmlns="http://schemas.openxmlformats.org/package/2006/relationships"><Relationship Id="rId1" Type="http://schemas.openxmlformats.org/officeDocument/2006/relationships/package" Target="../embeddings/Microsoft_Excel_Worksheet199.xlsx"/></Relationships>
</file>

<file path=ppt/charts/_rels/chart201.xml.rels><?xml version='1.0' encoding='UTF-8' standalone='yes'?>
<Relationships xmlns="http://schemas.openxmlformats.org/package/2006/relationships"><Relationship Id="rId1" Type="http://schemas.openxmlformats.org/officeDocument/2006/relationships/package" Target="../embeddings/Microsoft_Excel_Worksheet200.xlsx"/></Relationships>
</file>

<file path=ppt/charts/_rels/chart202.xml.rels><?xml version='1.0' encoding='UTF-8' standalone='yes'?>
<Relationships xmlns="http://schemas.openxmlformats.org/package/2006/relationships"><Relationship Id="rId1" Type="http://schemas.openxmlformats.org/officeDocument/2006/relationships/package" Target="../embeddings/Microsoft_Excel_Worksheet201.xlsx"/></Relationships>
</file>

<file path=ppt/charts/_rels/chart203.xml.rels><?xml version='1.0' encoding='UTF-8' standalone='yes'?>
<Relationships xmlns="http://schemas.openxmlformats.org/package/2006/relationships"><Relationship Id="rId1" Type="http://schemas.openxmlformats.org/officeDocument/2006/relationships/package" Target="../embeddings/Microsoft_Excel_Worksheet202.xlsx"/></Relationships>
</file>

<file path=ppt/charts/_rels/chart204.xml.rels><?xml version='1.0' encoding='UTF-8' standalone='yes'?>
<Relationships xmlns="http://schemas.openxmlformats.org/package/2006/relationships"><Relationship Id="rId1" Type="http://schemas.openxmlformats.org/officeDocument/2006/relationships/package" Target="../embeddings/Microsoft_Excel_Worksheet203.xlsx"/></Relationships>
</file>

<file path=ppt/charts/_rels/chart205.xml.rels><?xml version='1.0' encoding='UTF-8' standalone='yes'?>
<Relationships xmlns="http://schemas.openxmlformats.org/package/2006/relationships"><Relationship Id="rId1" Type="http://schemas.openxmlformats.org/officeDocument/2006/relationships/package" Target="../embeddings/Microsoft_Excel_Worksheet204.xlsx"/></Relationships>
</file>

<file path=ppt/charts/_rels/chart206.xml.rels><?xml version='1.0' encoding='UTF-8' standalone='yes'?>
<Relationships xmlns="http://schemas.openxmlformats.org/package/2006/relationships"><Relationship Id="rId1" Type="http://schemas.openxmlformats.org/officeDocument/2006/relationships/package" Target="../embeddings/Microsoft_Excel_Worksheet205.xlsx"/></Relationships>
</file>

<file path=ppt/charts/_rels/chart207.xml.rels><?xml version='1.0' encoding='UTF-8' standalone='yes'?>
<Relationships xmlns="http://schemas.openxmlformats.org/package/2006/relationships"><Relationship Id="rId1" Type="http://schemas.openxmlformats.org/officeDocument/2006/relationships/package" Target="../embeddings/Microsoft_Excel_Worksheet206.xlsx"/></Relationships>
</file>

<file path=ppt/charts/_rels/chart208.xml.rels><?xml version='1.0' encoding='UTF-8' standalone='yes'?>
<Relationships xmlns="http://schemas.openxmlformats.org/package/2006/relationships"><Relationship Id="rId1" Type="http://schemas.openxmlformats.org/officeDocument/2006/relationships/package" Target="../embeddings/Microsoft_Excel_Worksheet207.xlsx"/></Relationships>
</file>

<file path=ppt/charts/_rels/chart209.xml.rels><?xml version='1.0' encoding='UTF-8' standalone='yes'?>
<Relationships xmlns="http://schemas.openxmlformats.org/package/2006/relationships"><Relationship Id="rId1" Type="http://schemas.openxmlformats.org/officeDocument/2006/relationships/package" Target="../embeddings/Microsoft_Excel_Worksheet208.xlsx"/></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Worksheet20.xlsx"/></Relationships>
</file>

<file path=ppt/charts/_rels/chart210.xml.rels><?xml version='1.0' encoding='UTF-8' standalone='yes'?>
<Relationships xmlns="http://schemas.openxmlformats.org/package/2006/relationships"><Relationship Id="rId1" Type="http://schemas.openxmlformats.org/officeDocument/2006/relationships/package" Target="../embeddings/Microsoft_Excel_Worksheet209.xlsx"/></Relationships>
</file>

<file path=ppt/charts/_rels/chart211.xml.rels><?xml version='1.0' encoding='UTF-8' standalone='yes'?>
<Relationships xmlns="http://schemas.openxmlformats.org/package/2006/relationships"><Relationship Id="rId1" Type="http://schemas.openxmlformats.org/officeDocument/2006/relationships/package" Target="../embeddings/Microsoft_Excel_Worksheet210.xlsx"/></Relationships>
</file>

<file path=ppt/charts/_rels/chart212.xml.rels><?xml version='1.0' encoding='UTF-8' standalone='yes'?>
<Relationships xmlns="http://schemas.openxmlformats.org/package/2006/relationships"><Relationship Id="rId1" Type="http://schemas.openxmlformats.org/officeDocument/2006/relationships/package" Target="../embeddings/Microsoft_Excel_Worksheet211.xlsx"/></Relationships>
</file>

<file path=ppt/charts/_rels/chart213.xml.rels><?xml version='1.0' encoding='UTF-8' standalone='yes'?>
<Relationships xmlns="http://schemas.openxmlformats.org/package/2006/relationships"><Relationship Id="rId1" Type="http://schemas.openxmlformats.org/officeDocument/2006/relationships/package" Target="../embeddings/Microsoft_Excel_Worksheet212.xlsx"/></Relationships>
</file>

<file path=ppt/charts/_rels/chart214.xml.rels><?xml version='1.0' encoding='UTF-8' standalone='yes'?>
<Relationships xmlns="http://schemas.openxmlformats.org/package/2006/relationships"><Relationship Id="rId1" Type="http://schemas.openxmlformats.org/officeDocument/2006/relationships/package" Target="../embeddings/Microsoft_Excel_Worksheet213.xlsx"/></Relationships>
</file>

<file path=ppt/charts/_rels/chart215.xml.rels><?xml version='1.0' encoding='UTF-8' standalone='yes'?>
<Relationships xmlns="http://schemas.openxmlformats.org/package/2006/relationships"><Relationship Id="rId1" Type="http://schemas.openxmlformats.org/officeDocument/2006/relationships/package" Target="../embeddings/Microsoft_Excel_Worksheet214.xlsx"/></Relationships>
</file>

<file path=ppt/charts/_rels/chart216.xml.rels><?xml version='1.0' encoding='UTF-8' standalone='yes'?>
<Relationships xmlns="http://schemas.openxmlformats.org/package/2006/relationships"><Relationship Id="rId1" Type="http://schemas.openxmlformats.org/officeDocument/2006/relationships/package" Target="../embeddings/Microsoft_Excel_Worksheet215.xlsx"/></Relationships>
</file>

<file path=ppt/charts/_rels/chart217.xml.rels><?xml version='1.0' encoding='UTF-8' standalone='yes'?>
<Relationships xmlns="http://schemas.openxmlformats.org/package/2006/relationships"><Relationship Id="rId1" Type="http://schemas.openxmlformats.org/officeDocument/2006/relationships/package" Target="../embeddings/Microsoft_Excel_Worksheet216.xlsx"/></Relationships>
</file>

<file path=ppt/charts/_rels/chart218.xml.rels><?xml version='1.0' encoding='UTF-8' standalone='yes'?>
<Relationships xmlns="http://schemas.openxmlformats.org/package/2006/relationships"><Relationship Id="rId1" Type="http://schemas.openxmlformats.org/officeDocument/2006/relationships/package" Target="../embeddings/Microsoft_Excel_Worksheet217.xlsx"/></Relationships>
</file>

<file path=ppt/charts/_rels/chart219.xml.rels><?xml version='1.0' encoding='UTF-8' standalone='yes'?>
<Relationships xmlns="http://schemas.openxmlformats.org/package/2006/relationships"><Relationship Id="rId1" Type="http://schemas.openxmlformats.org/officeDocument/2006/relationships/package" Target="../embeddings/Microsoft_Excel_Worksheet218.xlsx"/></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Worksheet21.xlsx"/></Relationships>
</file>

<file path=ppt/charts/_rels/chart220.xml.rels><?xml version='1.0' encoding='UTF-8' standalone='yes'?>
<Relationships xmlns="http://schemas.openxmlformats.org/package/2006/relationships"><Relationship Id="rId1" Type="http://schemas.openxmlformats.org/officeDocument/2006/relationships/package" Target="../embeddings/Microsoft_Excel_Worksheet219.xlsx"/></Relationships>
</file>

<file path=ppt/charts/_rels/chart221.xml.rels><?xml version='1.0' encoding='UTF-8' standalone='yes'?>
<Relationships xmlns="http://schemas.openxmlformats.org/package/2006/relationships"><Relationship Id="rId1" Type="http://schemas.openxmlformats.org/officeDocument/2006/relationships/package" Target="../embeddings/Microsoft_Excel_Worksheet220.xlsx"/></Relationships>
</file>

<file path=ppt/charts/_rels/chart222.xml.rels><?xml version='1.0' encoding='UTF-8' standalone='yes'?>
<Relationships xmlns="http://schemas.openxmlformats.org/package/2006/relationships"><Relationship Id="rId1" Type="http://schemas.openxmlformats.org/officeDocument/2006/relationships/package" Target="../embeddings/Microsoft_Excel_Worksheet221.xlsx"/></Relationships>
</file>

<file path=ppt/charts/_rels/chart223.xml.rels><?xml version='1.0' encoding='UTF-8' standalone='yes'?>
<Relationships xmlns="http://schemas.openxmlformats.org/package/2006/relationships"><Relationship Id="rId1" Type="http://schemas.openxmlformats.org/officeDocument/2006/relationships/package" Target="../embeddings/Microsoft_Excel_Worksheet222.xlsx"/></Relationships>
</file>

<file path=ppt/charts/_rels/chart224.xml.rels><?xml version='1.0' encoding='UTF-8' standalone='yes'?>
<Relationships xmlns="http://schemas.openxmlformats.org/package/2006/relationships"><Relationship Id="rId1" Type="http://schemas.openxmlformats.org/officeDocument/2006/relationships/package" Target="../embeddings/Microsoft_Excel_Worksheet223.xlsx"/></Relationships>
</file>

<file path=ppt/charts/_rels/chart225.xml.rels><?xml version='1.0' encoding='UTF-8' standalone='yes'?>
<Relationships xmlns="http://schemas.openxmlformats.org/package/2006/relationships"><Relationship Id="rId1" Type="http://schemas.openxmlformats.org/officeDocument/2006/relationships/package" Target="../embeddings/Microsoft_Excel_Worksheet224.xlsx"/></Relationships>
</file>

<file path=ppt/charts/_rels/chart226.xml.rels><?xml version='1.0' encoding='UTF-8' standalone='yes'?>
<Relationships xmlns="http://schemas.openxmlformats.org/package/2006/relationships"><Relationship Id="rId1" Type="http://schemas.openxmlformats.org/officeDocument/2006/relationships/package" Target="../embeddings/Microsoft_Excel_Worksheet225.xlsx"/></Relationships>
</file>

<file path=ppt/charts/_rels/chart227.xml.rels><?xml version='1.0' encoding='UTF-8' standalone='yes'?>
<Relationships xmlns="http://schemas.openxmlformats.org/package/2006/relationships"><Relationship Id="rId1" Type="http://schemas.openxmlformats.org/officeDocument/2006/relationships/package" Target="../embeddings/Microsoft_Excel_Worksheet226.xlsx"/></Relationships>
</file>

<file path=ppt/charts/_rels/chart228.xml.rels><?xml version='1.0' encoding='UTF-8' standalone='yes'?>
<Relationships xmlns="http://schemas.openxmlformats.org/package/2006/relationships"><Relationship Id="rId1" Type="http://schemas.openxmlformats.org/officeDocument/2006/relationships/package" Target="../embeddings/Microsoft_Excel_Worksheet227.xlsx"/></Relationships>
</file>

<file path=ppt/charts/_rels/chart229.xml.rels><?xml version='1.0' encoding='UTF-8' standalone='yes'?>
<Relationships xmlns="http://schemas.openxmlformats.org/package/2006/relationships"><Relationship Id="rId1" Type="http://schemas.openxmlformats.org/officeDocument/2006/relationships/package" Target="../embeddings/Microsoft_Excel_Worksheet228.xlsx"/></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Worksheet22.xlsx"/></Relationships>
</file>

<file path=ppt/charts/_rels/chart230.xml.rels><?xml version='1.0' encoding='UTF-8' standalone='yes'?>
<Relationships xmlns="http://schemas.openxmlformats.org/package/2006/relationships"><Relationship Id="rId1" Type="http://schemas.openxmlformats.org/officeDocument/2006/relationships/package" Target="../embeddings/Microsoft_Excel_Worksheet229.xlsx"/></Relationships>
</file>

<file path=ppt/charts/_rels/chart231.xml.rels><?xml version='1.0' encoding='UTF-8' standalone='yes'?>
<Relationships xmlns="http://schemas.openxmlformats.org/package/2006/relationships"><Relationship Id="rId1" Type="http://schemas.openxmlformats.org/officeDocument/2006/relationships/package" Target="../embeddings/Microsoft_Excel_Worksheet230.xlsx"/></Relationships>
</file>

<file path=ppt/charts/_rels/chart232.xml.rels><?xml version='1.0' encoding='UTF-8' standalone='yes'?>
<Relationships xmlns="http://schemas.openxmlformats.org/package/2006/relationships"><Relationship Id="rId1" Type="http://schemas.openxmlformats.org/officeDocument/2006/relationships/package" Target="../embeddings/Microsoft_Excel_Worksheet231.xlsx"/></Relationships>
</file>

<file path=ppt/charts/_rels/chart233.xml.rels><?xml version='1.0' encoding='UTF-8' standalone='yes'?>
<Relationships xmlns="http://schemas.openxmlformats.org/package/2006/relationships"><Relationship Id="rId1" Type="http://schemas.openxmlformats.org/officeDocument/2006/relationships/package" Target="../embeddings/Microsoft_Excel_Worksheet232.xlsx"/></Relationships>
</file>

<file path=ppt/charts/_rels/chart234.xml.rels><?xml version='1.0' encoding='UTF-8' standalone='yes'?>
<Relationships xmlns="http://schemas.openxmlformats.org/package/2006/relationships"><Relationship Id="rId1" Type="http://schemas.openxmlformats.org/officeDocument/2006/relationships/package" Target="../embeddings/Microsoft_Excel_Worksheet233.xlsx"/></Relationships>
</file>

<file path=ppt/charts/_rels/chart235.xml.rels><?xml version='1.0' encoding='UTF-8' standalone='yes'?>
<Relationships xmlns="http://schemas.openxmlformats.org/package/2006/relationships"><Relationship Id="rId1" Type="http://schemas.openxmlformats.org/officeDocument/2006/relationships/package" Target="../embeddings/Microsoft_Excel_Worksheet234.xlsx"/></Relationships>
</file>

<file path=ppt/charts/_rels/chart236.xml.rels><?xml version='1.0' encoding='UTF-8' standalone='yes'?>
<Relationships xmlns="http://schemas.openxmlformats.org/package/2006/relationships"><Relationship Id="rId1" Type="http://schemas.openxmlformats.org/officeDocument/2006/relationships/package" Target="../embeddings/Microsoft_Excel_Worksheet235.xlsx"/></Relationships>
</file>

<file path=ppt/charts/_rels/chart237.xml.rels><?xml version='1.0' encoding='UTF-8' standalone='yes'?>
<Relationships xmlns="http://schemas.openxmlformats.org/package/2006/relationships"><Relationship Id="rId1" Type="http://schemas.openxmlformats.org/officeDocument/2006/relationships/package" Target="../embeddings/Microsoft_Excel_Worksheet236.xlsx"/></Relationships>
</file>

<file path=ppt/charts/_rels/chart238.xml.rels><?xml version='1.0' encoding='UTF-8' standalone='yes'?>
<Relationships xmlns="http://schemas.openxmlformats.org/package/2006/relationships"><Relationship Id="rId1" Type="http://schemas.openxmlformats.org/officeDocument/2006/relationships/package" Target="../embeddings/Microsoft_Excel_Worksheet237.xlsx"/></Relationships>
</file>

<file path=ppt/charts/_rels/chart239.xml.rels><?xml version='1.0' encoding='UTF-8' standalone='yes'?>
<Relationships xmlns="http://schemas.openxmlformats.org/package/2006/relationships"><Relationship Id="rId1" Type="http://schemas.openxmlformats.org/officeDocument/2006/relationships/package" Target="../embeddings/Microsoft_Excel_Worksheet238.xlsx"/></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Worksheet23.xlsx"/></Relationships>
</file>

<file path=ppt/charts/_rels/chart240.xml.rels><?xml version='1.0' encoding='UTF-8' standalone='yes'?>
<Relationships xmlns="http://schemas.openxmlformats.org/package/2006/relationships"><Relationship Id="rId1" Type="http://schemas.openxmlformats.org/officeDocument/2006/relationships/package" Target="../embeddings/Microsoft_Excel_Worksheet239.xlsx"/></Relationships>
</file>

<file path=ppt/charts/_rels/chart241.xml.rels><?xml version='1.0' encoding='UTF-8' standalone='yes'?>
<Relationships xmlns="http://schemas.openxmlformats.org/package/2006/relationships"><Relationship Id="rId1" Type="http://schemas.openxmlformats.org/officeDocument/2006/relationships/package" Target="../embeddings/Microsoft_Excel_Worksheet240.xlsx"/></Relationships>
</file>

<file path=ppt/charts/_rels/chart242.xml.rels><?xml version='1.0' encoding='UTF-8' standalone='yes'?>
<Relationships xmlns="http://schemas.openxmlformats.org/package/2006/relationships"><Relationship Id="rId1" Type="http://schemas.openxmlformats.org/officeDocument/2006/relationships/package" Target="../embeddings/Microsoft_Excel_Worksheet241.xlsx"/></Relationships>
</file>

<file path=ppt/charts/_rels/chart243.xml.rels><?xml version='1.0' encoding='UTF-8' standalone='yes'?>
<Relationships xmlns="http://schemas.openxmlformats.org/package/2006/relationships"><Relationship Id="rId1" Type="http://schemas.openxmlformats.org/officeDocument/2006/relationships/package" Target="../embeddings/Microsoft_Excel_Worksheet242.xlsx"/></Relationships>
</file>

<file path=ppt/charts/_rels/chart244.xml.rels><?xml version='1.0' encoding='UTF-8' standalone='yes'?>
<Relationships xmlns="http://schemas.openxmlformats.org/package/2006/relationships"><Relationship Id="rId1" Type="http://schemas.openxmlformats.org/officeDocument/2006/relationships/package" Target="../embeddings/Microsoft_Excel_Worksheet243.xlsx"/></Relationships>
</file>

<file path=ppt/charts/_rels/chart245.xml.rels><?xml version='1.0' encoding='UTF-8' standalone='yes'?>
<Relationships xmlns="http://schemas.openxmlformats.org/package/2006/relationships"><Relationship Id="rId1" Type="http://schemas.openxmlformats.org/officeDocument/2006/relationships/package" Target="../embeddings/Microsoft_Excel_Worksheet244.xlsx"/></Relationships>
</file>

<file path=ppt/charts/_rels/chart246.xml.rels><?xml version='1.0' encoding='UTF-8' standalone='yes'?>
<Relationships xmlns="http://schemas.openxmlformats.org/package/2006/relationships"><Relationship Id="rId1" Type="http://schemas.openxmlformats.org/officeDocument/2006/relationships/package" Target="../embeddings/Microsoft_Excel_Worksheet245.xlsx"/></Relationships>
</file>

<file path=ppt/charts/_rels/chart247.xml.rels><?xml version='1.0' encoding='UTF-8' standalone='yes'?>
<Relationships xmlns="http://schemas.openxmlformats.org/package/2006/relationships"><Relationship Id="rId1" Type="http://schemas.openxmlformats.org/officeDocument/2006/relationships/package" Target="../embeddings/Microsoft_Excel_Worksheet246.xlsx"/></Relationships>
</file>

<file path=ppt/charts/_rels/chart248.xml.rels><?xml version='1.0' encoding='UTF-8' standalone='yes'?>
<Relationships xmlns="http://schemas.openxmlformats.org/package/2006/relationships"><Relationship Id="rId1" Type="http://schemas.openxmlformats.org/officeDocument/2006/relationships/package" Target="../embeddings/Microsoft_Excel_Worksheet247.xlsx"/></Relationships>
</file>

<file path=ppt/charts/_rels/chart249.xml.rels><?xml version='1.0' encoding='UTF-8' standalone='yes'?>
<Relationships xmlns="http://schemas.openxmlformats.org/package/2006/relationships"><Relationship Id="rId1" Type="http://schemas.openxmlformats.org/officeDocument/2006/relationships/package" Target="../embeddings/Microsoft_Excel_Worksheet248.xlsx"/></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Worksheet24.xlsx"/></Relationships>
</file>

<file path=ppt/charts/_rels/chart250.xml.rels><?xml version='1.0' encoding='UTF-8' standalone='yes'?>
<Relationships xmlns="http://schemas.openxmlformats.org/package/2006/relationships"><Relationship Id="rId1" Type="http://schemas.openxmlformats.org/officeDocument/2006/relationships/package" Target="../embeddings/Microsoft_Excel_Worksheet249.xlsx"/></Relationships>
</file>

<file path=ppt/charts/_rels/chart251.xml.rels><?xml version='1.0' encoding='UTF-8' standalone='yes'?>
<Relationships xmlns="http://schemas.openxmlformats.org/package/2006/relationships"><Relationship Id="rId1" Type="http://schemas.openxmlformats.org/officeDocument/2006/relationships/package" Target="../embeddings/Microsoft_Excel_Worksheet250.xlsx"/></Relationships>
</file>

<file path=ppt/charts/_rels/chart252.xml.rels><?xml version='1.0' encoding='UTF-8' standalone='yes'?>
<Relationships xmlns="http://schemas.openxmlformats.org/package/2006/relationships"><Relationship Id="rId1" Type="http://schemas.openxmlformats.org/officeDocument/2006/relationships/package" Target="../embeddings/Microsoft_Excel_Worksheet251.xlsx"/></Relationships>
</file>

<file path=ppt/charts/_rels/chart253.xml.rels><?xml version='1.0' encoding='UTF-8' standalone='yes'?>
<Relationships xmlns="http://schemas.openxmlformats.org/package/2006/relationships"><Relationship Id="rId1" Type="http://schemas.openxmlformats.org/officeDocument/2006/relationships/package" Target="../embeddings/Microsoft_Excel_Worksheet252.xlsx"/></Relationships>
</file>

<file path=ppt/charts/_rels/chart254.xml.rels><?xml version='1.0' encoding='UTF-8' standalone='yes'?>
<Relationships xmlns="http://schemas.openxmlformats.org/package/2006/relationships"><Relationship Id="rId1" Type="http://schemas.openxmlformats.org/officeDocument/2006/relationships/package" Target="../embeddings/Microsoft_Excel_Worksheet253.xlsx"/></Relationships>
</file>

<file path=ppt/charts/_rels/chart255.xml.rels><?xml version='1.0' encoding='UTF-8' standalone='yes'?>
<Relationships xmlns="http://schemas.openxmlformats.org/package/2006/relationships"><Relationship Id="rId1" Type="http://schemas.openxmlformats.org/officeDocument/2006/relationships/package" Target="../embeddings/Microsoft_Excel_Worksheet254.xlsx"/></Relationships>
</file>

<file path=ppt/charts/_rels/chart256.xml.rels><?xml version='1.0' encoding='UTF-8' standalone='yes'?>
<Relationships xmlns="http://schemas.openxmlformats.org/package/2006/relationships"><Relationship Id="rId1" Type="http://schemas.openxmlformats.org/officeDocument/2006/relationships/package" Target="../embeddings/Microsoft_Excel_Worksheet255.xlsx"/></Relationships>
</file>

<file path=ppt/charts/_rels/chart257.xml.rels><?xml version='1.0' encoding='UTF-8' standalone='yes'?>
<Relationships xmlns="http://schemas.openxmlformats.org/package/2006/relationships"><Relationship Id="rId1" Type="http://schemas.openxmlformats.org/officeDocument/2006/relationships/package" Target="../embeddings/Microsoft_Excel_Worksheet256.xlsx"/></Relationships>
</file>

<file path=ppt/charts/_rels/chart258.xml.rels><?xml version='1.0' encoding='UTF-8' standalone='yes'?>
<Relationships xmlns="http://schemas.openxmlformats.org/package/2006/relationships"><Relationship Id="rId1" Type="http://schemas.openxmlformats.org/officeDocument/2006/relationships/package" Target="../embeddings/Microsoft_Excel_Worksheet257.xlsx"/></Relationships>
</file>

<file path=ppt/charts/_rels/chart259.xml.rels><?xml version='1.0' encoding='UTF-8' standalone='yes'?>
<Relationships xmlns="http://schemas.openxmlformats.org/package/2006/relationships"><Relationship Id="rId1" Type="http://schemas.openxmlformats.org/officeDocument/2006/relationships/package" Target="../embeddings/Microsoft_Excel_Worksheet258.xlsx"/></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Worksheet25.xlsx"/></Relationships>
</file>

<file path=ppt/charts/_rels/chart260.xml.rels><?xml version='1.0' encoding='UTF-8' standalone='yes'?>
<Relationships xmlns="http://schemas.openxmlformats.org/package/2006/relationships"><Relationship Id="rId1" Type="http://schemas.openxmlformats.org/officeDocument/2006/relationships/package" Target="../embeddings/Microsoft_Excel_Worksheet259.xlsx"/></Relationships>
</file>

<file path=ppt/charts/_rels/chart261.xml.rels><?xml version='1.0' encoding='UTF-8' standalone='yes'?>
<Relationships xmlns="http://schemas.openxmlformats.org/package/2006/relationships"><Relationship Id="rId1" Type="http://schemas.openxmlformats.org/officeDocument/2006/relationships/package" Target="../embeddings/Microsoft_Excel_Worksheet260.xlsx"/></Relationships>
</file>

<file path=ppt/charts/_rels/chart262.xml.rels><?xml version='1.0' encoding='UTF-8' standalone='yes'?>
<Relationships xmlns="http://schemas.openxmlformats.org/package/2006/relationships"><Relationship Id="rId1" Type="http://schemas.openxmlformats.org/officeDocument/2006/relationships/package" Target="../embeddings/Microsoft_Excel_Worksheet261.xlsx"/></Relationships>
</file>

<file path=ppt/charts/_rels/chart263.xml.rels><?xml version='1.0' encoding='UTF-8' standalone='yes'?>
<Relationships xmlns="http://schemas.openxmlformats.org/package/2006/relationships"><Relationship Id="rId1" Type="http://schemas.openxmlformats.org/officeDocument/2006/relationships/package" Target="../embeddings/Microsoft_Excel_Worksheet262.xlsx"/></Relationships>
</file>

<file path=ppt/charts/_rels/chart264.xml.rels><?xml version='1.0' encoding='UTF-8' standalone='yes'?>
<Relationships xmlns="http://schemas.openxmlformats.org/package/2006/relationships"><Relationship Id="rId1" Type="http://schemas.openxmlformats.org/officeDocument/2006/relationships/package" Target="../embeddings/Microsoft_Excel_Worksheet263.xlsx"/></Relationships>
</file>

<file path=ppt/charts/_rels/chart265.xml.rels><?xml version='1.0' encoding='UTF-8' standalone='yes'?>
<Relationships xmlns="http://schemas.openxmlformats.org/package/2006/relationships"><Relationship Id="rId1" Type="http://schemas.openxmlformats.org/officeDocument/2006/relationships/package" Target="../embeddings/Microsoft_Excel_Worksheet264.xlsx"/></Relationships>
</file>

<file path=ppt/charts/_rels/chart266.xml.rels><?xml version='1.0' encoding='UTF-8' standalone='yes'?>
<Relationships xmlns="http://schemas.openxmlformats.org/package/2006/relationships"><Relationship Id="rId1" Type="http://schemas.openxmlformats.org/officeDocument/2006/relationships/package" Target="../embeddings/Microsoft_Excel_Worksheet265.xlsx"/></Relationships>
</file>

<file path=ppt/charts/_rels/chart267.xml.rels><?xml version='1.0' encoding='UTF-8' standalone='yes'?>
<Relationships xmlns="http://schemas.openxmlformats.org/package/2006/relationships"><Relationship Id="rId1" Type="http://schemas.openxmlformats.org/officeDocument/2006/relationships/package" Target="../embeddings/Microsoft_Excel_Worksheet266.xlsx"/></Relationships>
</file>

<file path=ppt/charts/_rels/chart268.xml.rels><?xml version='1.0' encoding='UTF-8' standalone='yes'?>
<Relationships xmlns="http://schemas.openxmlformats.org/package/2006/relationships"><Relationship Id="rId1" Type="http://schemas.openxmlformats.org/officeDocument/2006/relationships/package" Target="../embeddings/Microsoft_Excel_Worksheet267.xlsx"/></Relationships>
</file>

<file path=ppt/charts/_rels/chart269.xml.rels><?xml version='1.0' encoding='UTF-8' standalone='yes'?>
<Relationships xmlns="http://schemas.openxmlformats.org/package/2006/relationships"><Relationship Id="rId1" Type="http://schemas.openxmlformats.org/officeDocument/2006/relationships/package" Target="../embeddings/Microsoft_Excel_Worksheet268.xlsx"/></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Worksheet26.xlsx"/></Relationships>
</file>

<file path=ppt/charts/_rels/chart270.xml.rels><?xml version='1.0' encoding='UTF-8' standalone='yes'?>
<Relationships xmlns="http://schemas.openxmlformats.org/package/2006/relationships"><Relationship Id="rId1" Type="http://schemas.openxmlformats.org/officeDocument/2006/relationships/package" Target="../embeddings/Microsoft_Excel_Worksheet269.xlsx"/></Relationships>
</file>

<file path=ppt/charts/_rels/chart271.xml.rels><?xml version='1.0' encoding='UTF-8' standalone='yes'?>
<Relationships xmlns="http://schemas.openxmlformats.org/package/2006/relationships"><Relationship Id="rId1" Type="http://schemas.openxmlformats.org/officeDocument/2006/relationships/package" Target="../embeddings/Microsoft_Excel_Worksheet270.xlsx"/></Relationships>
</file>

<file path=ppt/charts/_rels/chart272.xml.rels><?xml version='1.0' encoding='UTF-8' standalone='yes'?>
<Relationships xmlns="http://schemas.openxmlformats.org/package/2006/relationships"><Relationship Id="rId1" Type="http://schemas.openxmlformats.org/officeDocument/2006/relationships/package" Target="../embeddings/Microsoft_Excel_Worksheet271.xlsx"/></Relationships>
</file>

<file path=ppt/charts/_rels/chart273.xml.rels><?xml version='1.0' encoding='UTF-8' standalone='yes'?>
<Relationships xmlns="http://schemas.openxmlformats.org/package/2006/relationships"><Relationship Id="rId1" Type="http://schemas.openxmlformats.org/officeDocument/2006/relationships/package" Target="../embeddings/Microsoft_Excel_Worksheet272.xlsx"/></Relationships>
</file>

<file path=ppt/charts/_rels/chart274.xml.rels><?xml version='1.0' encoding='UTF-8' standalone='yes'?>
<Relationships xmlns="http://schemas.openxmlformats.org/package/2006/relationships"><Relationship Id="rId1" Type="http://schemas.openxmlformats.org/officeDocument/2006/relationships/package" Target="../embeddings/Microsoft_Excel_Worksheet273.xlsx"/></Relationships>
</file>

<file path=ppt/charts/_rels/chart275.xml.rels><?xml version='1.0' encoding='UTF-8' standalone='yes'?>
<Relationships xmlns="http://schemas.openxmlformats.org/package/2006/relationships"><Relationship Id="rId1" Type="http://schemas.openxmlformats.org/officeDocument/2006/relationships/package" Target="../embeddings/Microsoft_Excel_Worksheet274.xlsx"/></Relationships>
</file>

<file path=ppt/charts/_rels/chart276.xml.rels><?xml version='1.0' encoding='UTF-8' standalone='yes'?>
<Relationships xmlns="http://schemas.openxmlformats.org/package/2006/relationships"><Relationship Id="rId1" Type="http://schemas.openxmlformats.org/officeDocument/2006/relationships/package" Target="../embeddings/Microsoft_Excel_Worksheet275.xlsx"/></Relationships>
</file>

<file path=ppt/charts/_rels/chart277.xml.rels><?xml version='1.0' encoding='UTF-8' standalone='yes'?>
<Relationships xmlns="http://schemas.openxmlformats.org/package/2006/relationships"><Relationship Id="rId1" Type="http://schemas.openxmlformats.org/officeDocument/2006/relationships/package" Target="../embeddings/Microsoft_Excel_Worksheet276.xlsx"/></Relationships>
</file>

<file path=ppt/charts/_rels/chart278.xml.rels><?xml version='1.0' encoding='UTF-8' standalone='yes'?>
<Relationships xmlns="http://schemas.openxmlformats.org/package/2006/relationships"><Relationship Id="rId1" Type="http://schemas.openxmlformats.org/officeDocument/2006/relationships/package" Target="../embeddings/Microsoft_Excel_Worksheet277.xlsx"/></Relationships>
</file>

<file path=ppt/charts/_rels/chart279.xml.rels><?xml version='1.0' encoding='UTF-8' standalone='yes'?>
<Relationships xmlns="http://schemas.openxmlformats.org/package/2006/relationships"><Relationship Id="rId1" Type="http://schemas.openxmlformats.org/officeDocument/2006/relationships/package" Target="../embeddings/Microsoft_Excel_Worksheet278.xlsx"/></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Worksheet27.xlsx"/></Relationships>
</file>

<file path=ppt/charts/_rels/chart280.xml.rels><?xml version='1.0' encoding='UTF-8' standalone='yes'?>
<Relationships xmlns="http://schemas.openxmlformats.org/package/2006/relationships"><Relationship Id="rId1" Type="http://schemas.openxmlformats.org/officeDocument/2006/relationships/package" Target="../embeddings/Microsoft_Excel_Worksheet279.xlsx"/></Relationships>
</file>

<file path=ppt/charts/_rels/chart281.xml.rels><?xml version='1.0' encoding='UTF-8' standalone='yes'?>
<Relationships xmlns="http://schemas.openxmlformats.org/package/2006/relationships"><Relationship Id="rId1" Type="http://schemas.openxmlformats.org/officeDocument/2006/relationships/package" Target="../embeddings/Microsoft_Excel_Worksheet280.xlsx"/></Relationships>
</file>

<file path=ppt/charts/_rels/chart282.xml.rels><?xml version='1.0' encoding='UTF-8' standalone='yes'?>
<Relationships xmlns="http://schemas.openxmlformats.org/package/2006/relationships"><Relationship Id="rId1" Type="http://schemas.openxmlformats.org/officeDocument/2006/relationships/package" Target="../embeddings/Microsoft_Excel_Worksheet281.xlsx"/></Relationships>
</file>

<file path=ppt/charts/_rels/chart283.xml.rels><?xml version='1.0' encoding='UTF-8' standalone='yes'?>
<Relationships xmlns="http://schemas.openxmlformats.org/package/2006/relationships"><Relationship Id="rId1" Type="http://schemas.openxmlformats.org/officeDocument/2006/relationships/package" Target="../embeddings/Microsoft_Excel_Worksheet282.xlsx"/></Relationships>
</file>

<file path=ppt/charts/_rels/chart284.xml.rels><?xml version='1.0' encoding='UTF-8' standalone='yes'?>
<Relationships xmlns="http://schemas.openxmlformats.org/package/2006/relationships"><Relationship Id="rId1" Type="http://schemas.openxmlformats.org/officeDocument/2006/relationships/package" Target="../embeddings/Microsoft_Excel_Worksheet283.xlsx"/></Relationships>
</file>

<file path=ppt/charts/_rels/chart285.xml.rels><?xml version='1.0' encoding='UTF-8' standalone='yes'?>
<Relationships xmlns="http://schemas.openxmlformats.org/package/2006/relationships"><Relationship Id="rId1" Type="http://schemas.openxmlformats.org/officeDocument/2006/relationships/package" Target="../embeddings/Microsoft_Excel_Worksheet284.xlsx"/></Relationships>
</file>

<file path=ppt/charts/_rels/chart286.xml.rels><?xml version='1.0' encoding='UTF-8' standalone='yes'?>
<Relationships xmlns="http://schemas.openxmlformats.org/package/2006/relationships"><Relationship Id="rId1" Type="http://schemas.openxmlformats.org/officeDocument/2006/relationships/package" Target="../embeddings/Microsoft_Excel_Worksheet285.xlsx"/></Relationships>
</file>

<file path=ppt/charts/_rels/chart287.xml.rels><?xml version='1.0' encoding='UTF-8' standalone='yes'?>
<Relationships xmlns="http://schemas.openxmlformats.org/package/2006/relationships"><Relationship Id="rId1" Type="http://schemas.openxmlformats.org/officeDocument/2006/relationships/package" Target="../embeddings/Microsoft_Excel_Worksheet286.xlsx"/></Relationships>
</file>

<file path=ppt/charts/_rels/chart288.xml.rels><?xml version='1.0' encoding='UTF-8' standalone='yes'?>
<Relationships xmlns="http://schemas.openxmlformats.org/package/2006/relationships"><Relationship Id="rId1" Type="http://schemas.openxmlformats.org/officeDocument/2006/relationships/package" Target="../embeddings/Microsoft_Excel_Worksheet287.xlsx"/></Relationships>
</file>

<file path=ppt/charts/_rels/chart289.xml.rels><?xml version='1.0' encoding='UTF-8' standalone='yes'?>
<Relationships xmlns="http://schemas.openxmlformats.org/package/2006/relationships"><Relationship Id="rId1" Type="http://schemas.openxmlformats.org/officeDocument/2006/relationships/package" Target="../embeddings/Microsoft_Excel_Worksheet288.xlsx"/></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Worksheet28.xlsx"/></Relationships>
</file>

<file path=ppt/charts/_rels/chart290.xml.rels><?xml version='1.0' encoding='UTF-8' standalone='yes'?>
<Relationships xmlns="http://schemas.openxmlformats.org/package/2006/relationships"><Relationship Id="rId1" Type="http://schemas.openxmlformats.org/officeDocument/2006/relationships/package" Target="../embeddings/Microsoft_Excel_Worksheet289.xlsx"/></Relationships>
</file>

<file path=ppt/charts/_rels/chart291.xml.rels><?xml version='1.0' encoding='UTF-8' standalone='yes'?>
<Relationships xmlns="http://schemas.openxmlformats.org/package/2006/relationships"><Relationship Id="rId1" Type="http://schemas.openxmlformats.org/officeDocument/2006/relationships/package" Target="../embeddings/Microsoft_Excel_Worksheet290.xlsx"/></Relationships>
</file>

<file path=ppt/charts/_rels/chart292.xml.rels><?xml version='1.0' encoding='UTF-8' standalone='yes'?>
<Relationships xmlns="http://schemas.openxmlformats.org/package/2006/relationships"><Relationship Id="rId1" Type="http://schemas.openxmlformats.org/officeDocument/2006/relationships/package" Target="../embeddings/Microsoft_Excel_Worksheet291.xlsx"/></Relationships>
</file>

<file path=ppt/charts/_rels/chart293.xml.rels><?xml version='1.0' encoding='UTF-8' standalone='yes'?>
<Relationships xmlns="http://schemas.openxmlformats.org/package/2006/relationships"><Relationship Id="rId1" Type="http://schemas.openxmlformats.org/officeDocument/2006/relationships/package" Target="../embeddings/Microsoft_Excel_Worksheet292.xlsx"/></Relationships>
</file>

<file path=ppt/charts/_rels/chart294.xml.rels><?xml version='1.0' encoding='UTF-8' standalone='yes'?>
<Relationships xmlns="http://schemas.openxmlformats.org/package/2006/relationships"><Relationship Id="rId1" Type="http://schemas.openxmlformats.org/officeDocument/2006/relationships/package" Target="../embeddings/Microsoft_Excel_Worksheet293.xlsx"/></Relationships>
</file>

<file path=ppt/charts/_rels/chart295.xml.rels><?xml version='1.0' encoding='UTF-8' standalone='yes'?>
<Relationships xmlns="http://schemas.openxmlformats.org/package/2006/relationships"><Relationship Id="rId1" Type="http://schemas.openxmlformats.org/officeDocument/2006/relationships/package" Target="../embeddings/Microsoft_Excel_Worksheet294.xlsx"/></Relationships>
</file>

<file path=ppt/charts/_rels/chart296.xml.rels><?xml version='1.0' encoding='UTF-8' standalone='yes'?>
<Relationships xmlns="http://schemas.openxmlformats.org/package/2006/relationships"><Relationship Id="rId1" Type="http://schemas.openxmlformats.org/officeDocument/2006/relationships/package" Target="../embeddings/Microsoft_Excel_Worksheet295.xlsx"/></Relationships>
</file>

<file path=ppt/charts/_rels/chart297.xml.rels><?xml version='1.0' encoding='UTF-8' standalone='yes'?>
<Relationships xmlns="http://schemas.openxmlformats.org/package/2006/relationships"><Relationship Id="rId1" Type="http://schemas.openxmlformats.org/officeDocument/2006/relationships/package" Target="../embeddings/Microsoft_Excel_Worksheet296.xlsx"/></Relationships>
</file>

<file path=ppt/charts/_rels/chart298.xml.rels><?xml version='1.0' encoding='UTF-8' standalone='yes'?>
<Relationships xmlns="http://schemas.openxmlformats.org/package/2006/relationships"><Relationship Id="rId1" Type="http://schemas.openxmlformats.org/officeDocument/2006/relationships/package" Target="../embeddings/Microsoft_Excel_Worksheet297.xlsx"/></Relationships>
</file>

<file path=ppt/charts/_rels/chart299.xml.rels><?xml version='1.0' encoding='UTF-8' standalone='yes'?>
<Relationships xmlns="http://schemas.openxmlformats.org/package/2006/relationships"><Relationship Id="rId1" Type="http://schemas.openxmlformats.org/officeDocument/2006/relationships/package" Target="../embeddings/Microsoft_Excel_Worksheet298.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30.xml.rels><?xml version='1.0' encoding='UTF-8' standalone='yes'?>
<Relationships xmlns="http://schemas.openxmlformats.org/package/2006/relationships"><Relationship Id="rId1" Type="http://schemas.openxmlformats.org/officeDocument/2006/relationships/package" Target="../embeddings/Microsoft_Excel_Worksheet29.xlsx"/></Relationships>
</file>

<file path=ppt/charts/_rels/chart300.xml.rels><?xml version='1.0' encoding='UTF-8' standalone='yes'?>
<Relationships xmlns="http://schemas.openxmlformats.org/package/2006/relationships"><Relationship Id="rId1" Type="http://schemas.openxmlformats.org/officeDocument/2006/relationships/package" Target="../embeddings/Microsoft_Excel_Worksheet299.xlsx"/></Relationships>
</file>

<file path=ppt/charts/_rels/chart301.xml.rels><?xml version='1.0' encoding='UTF-8' standalone='yes'?>
<Relationships xmlns="http://schemas.openxmlformats.org/package/2006/relationships"><Relationship Id="rId1" Type="http://schemas.openxmlformats.org/officeDocument/2006/relationships/package" Target="../embeddings/Microsoft_Excel_Worksheet300.xlsx"/></Relationships>
</file>

<file path=ppt/charts/_rels/chart302.xml.rels><?xml version='1.0' encoding='UTF-8' standalone='yes'?>
<Relationships xmlns="http://schemas.openxmlformats.org/package/2006/relationships"><Relationship Id="rId1" Type="http://schemas.openxmlformats.org/officeDocument/2006/relationships/package" Target="../embeddings/Microsoft_Excel_Worksheet301.xlsx"/></Relationships>
</file>

<file path=ppt/charts/_rels/chart303.xml.rels><?xml version='1.0' encoding='UTF-8' standalone='yes'?>
<Relationships xmlns="http://schemas.openxmlformats.org/package/2006/relationships"><Relationship Id="rId1" Type="http://schemas.openxmlformats.org/officeDocument/2006/relationships/package" Target="../embeddings/Microsoft_Excel_Worksheet302.xlsx"/></Relationships>
</file>

<file path=ppt/charts/_rels/chart304.xml.rels><?xml version='1.0' encoding='UTF-8' standalone='yes'?>
<Relationships xmlns="http://schemas.openxmlformats.org/package/2006/relationships"><Relationship Id="rId1" Type="http://schemas.openxmlformats.org/officeDocument/2006/relationships/package" Target="../embeddings/Microsoft_Excel_Worksheet303.xlsx"/></Relationships>
</file>

<file path=ppt/charts/_rels/chart305.xml.rels><?xml version='1.0' encoding='UTF-8' standalone='yes'?>
<Relationships xmlns="http://schemas.openxmlformats.org/package/2006/relationships"><Relationship Id="rId1" Type="http://schemas.openxmlformats.org/officeDocument/2006/relationships/package" Target="../embeddings/Microsoft_Excel_Worksheet304.xlsx"/></Relationships>
</file>

<file path=ppt/charts/_rels/chart306.xml.rels><?xml version='1.0' encoding='UTF-8' standalone='yes'?>
<Relationships xmlns="http://schemas.openxmlformats.org/package/2006/relationships"><Relationship Id="rId1" Type="http://schemas.openxmlformats.org/officeDocument/2006/relationships/package" Target="../embeddings/Microsoft_Excel_Worksheet305.xlsx"/></Relationships>
</file>

<file path=ppt/charts/_rels/chart307.xml.rels><?xml version='1.0' encoding='UTF-8' standalone='yes'?>
<Relationships xmlns="http://schemas.openxmlformats.org/package/2006/relationships"><Relationship Id="rId1" Type="http://schemas.openxmlformats.org/officeDocument/2006/relationships/package" Target="../embeddings/Microsoft_Excel_Worksheet306.xlsx"/></Relationships>
</file>

<file path=ppt/charts/_rels/chart308.xml.rels><?xml version='1.0' encoding='UTF-8' standalone='yes'?>
<Relationships xmlns="http://schemas.openxmlformats.org/package/2006/relationships"><Relationship Id="rId1" Type="http://schemas.openxmlformats.org/officeDocument/2006/relationships/package" Target="../embeddings/Microsoft_Excel_Worksheet307.xlsx"/></Relationships>
</file>

<file path=ppt/charts/_rels/chart309.xml.rels><?xml version='1.0' encoding='UTF-8' standalone='yes'?>
<Relationships xmlns="http://schemas.openxmlformats.org/package/2006/relationships"><Relationship Id="rId1" Type="http://schemas.openxmlformats.org/officeDocument/2006/relationships/package" Target="../embeddings/Microsoft_Excel_Worksheet308.xlsx"/></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_Worksheet30.xlsx"/></Relationships>
</file>

<file path=ppt/charts/_rels/chart310.xml.rels><?xml version='1.0' encoding='UTF-8' standalone='yes'?>
<Relationships xmlns="http://schemas.openxmlformats.org/package/2006/relationships"><Relationship Id="rId1" Type="http://schemas.openxmlformats.org/officeDocument/2006/relationships/package" Target="../embeddings/Microsoft_Excel_Worksheet309.xlsx"/></Relationships>
</file>

<file path=ppt/charts/_rels/chart311.xml.rels><?xml version='1.0' encoding='UTF-8' standalone='yes'?>
<Relationships xmlns="http://schemas.openxmlformats.org/package/2006/relationships"><Relationship Id="rId1" Type="http://schemas.openxmlformats.org/officeDocument/2006/relationships/package" Target="../embeddings/Microsoft_Excel_Worksheet310.xlsx"/></Relationships>
</file>

<file path=ppt/charts/_rels/chart312.xml.rels><?xml version='1.0' encoding='UTF-8' standalone='yes'?>
<Relationships xmlns="http://schemas.openxmlformats.org/package/2006/relationships"><Relationship Id="rId1" Type="http://schemas.openxmlformats.org/officeDocument/2006/relationships/package" Target="../embeddings/Microsoft_Excel_Worksheet311.xlsx"/></Relationships>
</file>

<file path=ppt/charts/_rels/chart313.xml.rels><?xml version='1.0' encoding='UTF-8' standalone='yes'?>
<Relationships xmlns="http://schemas.openxmlformats.org/package/2006/relationships"><Relationship Id="rId1" Type="http://schemas.openxmlformats.org/officeDocument/2006/relationships/package" Target="../embeddings/Microsoft_Excel_Worksheet312.xlsx"/></Relationships>
</file>

<file path=ppt/charts/_rels/chart314.xml.rels><?xml version='1.0' encoding='UTF-8' standalone='yes'?>
<Relationships xmlns="http://schemas.openxmlformats.org/package/2006/relationships"><Relationship Id="rId1" Type="http://schemas.openxmlformats.org/officeDocument/2006/relationships/package" Target="../embeddings/Microsoft_Excel_Worksheet313.xlsx"/></Relationships>
</file>

<file path=ppt/charts/_rels/chart315.xml.rels><?xml version='1.0' encoding='UTF-8' standalone='yes'?>
<Relationships xmlns="http://schemas.openxmlformats.org/package/2006/relationships"><Relationship Id="rId1" Type="http://schemas.openxmlformats.org/officeDocument/2006/relationships/package" Target="../embeddings/Microsoft_Excel_Worksheet314.xlsx"/></Relationships>
</file>

<file path=ppt/charts/_rels/chart316.xml.rels><?xml version='1.0' encoding='UTF-8' standalone='yes'?>
<Relationships xmlns="http://schemas.openxmlformats.org/package/2006/relationships"><Relationship Id="rId1" Type="http://schemas.openxmlformats.org/officeDocument/2006/relationships/package" Target="../embeddings/Microsoft_Excel_Worksheet315.xlsx"/></Relationships>
</file>

<file path=ppt/charts/_rels/chart317.xml.rels><?xml version='1.0' encoding='UTF-8' standalone='yes'?>
<Relationships xmlns="http://schemas.openxmlformats.org/package/2006/relationships"><Relationship Id="rId1" Type="http://schemas.openxmlformats.org/officeDocument/2006/relationships/package" Target="../embeddings/Microsoft_Excel_Worksheet316.xlsx"/></Relationships>
</file>

<file path=ppt/charts/_rels/chart318.xml.rels><?xml version='1.0' encoding='UTF-8' standalone='yes'?>
<Relationships xmlns="http://schemas.openxmlformats.org/package/2006/relationships"><Relationship Id="rId1" Type="http://schemas.openxmlformats.org/officeDocument/2006/relationships/package" Target="../embeddings/Microsoft_Excel_Worksheet317.xlsx"/></Relationships>
</file>

<file path=ppt/charts/_rels/chart319.xml.rels><?xml version='1.0' encoding='UTF-8' standalone='yes'?>
<Relationships xmlns="http://schemas.openxmlformats.org/package/2006/relationships"><Relationship Id="rId1" Type="http://schemas.openxmlformats.org/officeDocument/2006/relationships/package" Target="../embeddings/Microsoft_Excel_Worksheet318.xlsx"/></Relationships>
</file>

<file path=ppt/charts/_rels/chart32.xml.rels><?xml version='1.0' encoding='UTF-8' standalone='yes'?>
<Relationships xmlns="http://schemas.openxmlformats.org/package/2006/relationships"><Relationship Id="rId1" Type="http://schemas.openxmlformats.org/officeDocument/2006/relationships/package" Target="../embeddings/Microsoft_Excel_Worksheet31.xlsx"/></Relationships>
</file>

<file path=ppt/charts/_rels/chart320.xml.rels><?xml version='1.0' encoding='UTF-8' standalone='yes'?>
<Relationships xmlns="http://schemas.openxmlformats.org/package/2006/relationships"><Relationship Id="rId1" Type="http://schemas.openxmlformats.org/officeDocument/2006/relationships/package" Target="../embeddings/Microsoft_Excel_Worksheet319.xlsx"/></Relationships>
</file>

<file path=ppt/charts/_rels/chart321.xml.rels><?xml version='1.0' encoding='UTF-8' standalone='yes'?>
<Relationships xmlns="http://schemas.openxmlformats.org/package/2006/relationships"><Relationship Id="rId1" Type="http://schemas.openxmlformats.org/officeDocument/2006/relationships/package" Target="../embeddings/Microsoft_Excel_Worksheet320.xlsx"/></Relationships>
</file>

<file path=ppt/charts/_rels/chart322.xml.rels><?xml version='1.0' encoding='UTF-8' standalone='yes'?>
<Relationships xmlns="http://schemas.openxmlformats.org/package/2006/relationships"><Relationship Id="rId1" Type="http://schemas.openxmlformats.org/officeDocument/2006/relationships/package" Target="../embeddings/Microsoft_Excel_Worksheet321.xlsx"/></Relationships>
</file>

<file path=ppt/charts/_rels/chart323.xml.rels><?xml version='1.0' encoding='UTF-8' standalone='yes'?>
<Relationships xmlns="http://schemas.openxmlformats.org/package/2006/relationships"><Relationship Id="rId1" Type="http://schemas.openxmlformats.org/officeDocument/2006/relationships/package" Target="../embeddings/Microsoft_Excel_Worksheet322.xlsx"/></Relationships>
</file>

<file path=ppt/charts/_rels/chart324.xml.rels><?xml version='1.0' encoding='UTF-8' standalone='yes'?>
<Relationships xmlns="http://schemas.openxmlformats.org/package/2006/relationships"><Relationship Id="rId1" Type="http://schemas.openxmlformats.org/officeDocument/2006/relationships/package" Target="../embeddings/Microsoft_Excel_Worksheet323.xlsx"/></Relationships>
</file>

<file path=ppt/charts/_rels/chart33.xml.rels><?xml version='1.0' encoding='UTF-8' standalone='yes'?>
<Relationships xmlns="http://schemas.openxmlformats.org/package/2006/relationships"><Relationship Id="rId1" Type="http://schemas.openxmlformats.org/officeDocument/2006/relationships/package" Target="../embeddings/Microsoft_Excel_Worksheet32.xlsx"/></Relationships>
</file>

<file path=ppt/charts/_rels/chart34.xml.rels><?xml version='1.0' encoding='UTF-8' standalone='yes'?>
<Relationships xmlns="http://schemas.openxmlformats.org/package/2006/relationships"><Relationship Id="rId1" Type="http://schemas.openxmlformats.org/officeDocument/2006/relationships/package" Target="../embeddings/Microsoft_Excel_Worksheet33.xlsx"/></Relationships>
</file>

<file path=ppt/charts/_rels/chart35.xml.rels><?xml version='1.0' encoding='UTF-8' standalone='yes'?>
<Relationships xmlns="http://schemas.openxmlformats.org/package/2006/relationships"><Relationship Id="rId1" Type="http://schemas.openxmlformats.org/officeDocument/2006/relationships/package" Target="../embeddings/Microsoft_Excel_Worksheet34.xlsx"/></Relationships>
</file>

<file path=ppt/charts/_rels/chart36.xml.rels><?xml version='1.0' encoding='UTF-8' standalone='yes'?>
<Relationships xmlns="http://schemas.openxmlformats.org/package/2006/relationships"><Relationship Id="rId1" Type="http://schemas.openxmlformats.org/officeDocument/2006/relationships/package" Target="../embeddings/Microsoft_Excel_Worksheet35.xlsx"/></Relationships>
</file>

<file path=ppt/charts/_rels/chart37.xml.rels><?xml version='1.0' encoding='UTF-8' standalone='yes'?>
<Relationships xmlns="http://schemas.openxmlformats.org/package/2006/relationships"><Relationship Id="rId1" Type="http://schemas.openxmlformats.org/officeDocument/2006/relationships/package" Target="../embeddings/Microsoft_Excel_Worksheet36.xlsx"/></Relationships>
</file>

<file path=ppt/charts/_rels/chart38.xml.rels><?xml version='1.0' encoding='UTF-8' standalone='yes'?>
<Relationships xmlns="http://schemas.openxmlformats.org/package/2006/relationships"><Relationship Id="rId1" Type="http://schemas.openxmlformats.org/officeDocument/2006/relationships/package" Target="../embeddings/Microsoft_Excel_Worksheet37.xlsx"/></Relationships>
</file>

<file path=ppt/charts/_rels/chart39.xml.rels><?xml version='1.0' encoding='UTF-8' standalone='yes'?>
<Relationships xmlns="http://schemas.openxmlformats.org/package/2006/relationships"><Relationship Id="rId1" Type="http://schemas.openxmlformats.org/officeDocument/2006/relationships/package" Target="../embeddings/Microsoft_Excel_Worksheet38.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40.xml.rels><?xml version='1.0' encoding='UTF-8' standalone='yes'?>
<Relationships xmlns="http://schemas.openxmlformats.org/package/2006/relationships"><Relationship Id="rId1" Type="http://schemas.openxmlformats.org/officeDocument/2006/relationships/package" Target="../embeddings/Microsoft_Excel_Worksheet39.xlsx"/></Relationships>
</file>

<file path=ppt/charts/_rels/chart41.xml.rels><?xml version='1.0' encoding='UTF-8' standalone='yes'?>
<Relationships xmlns="http://schemas.openxmlformats.org/package/2006/relationships"><Relationship Id="rId1" Type="http://schemas.openxmlformats.org/officeDocument/2006/relationships/package" Target="../embeddings/Microsoft_Excel_Worksheet40.xlsx"/></Relationships>
</file>

<file path=ppt/charts/_rels/chart42.xml.rels><?xml version='1.0' encoding='UTF-8' standalone='yes'?>
<Relationships xmlns="http://schemas.openxmlformats.org/package/2006/relationships"><Relationship Id="rId1" Type="http://schemas.openxmlformats.org/officeDocument/2006/relationships/package" Target="../embeddings/Microsoft_Excel_Worksheet41.xlsx"/></Relationships>
</file>

<file path=ppt/charts/_rels/chart43.xml.rels><?xml version='1.0' encoding='UTF-8' standalone='yes'?>
<Relationships xmlns="http://schemas.openxmlformats.org/package/2006/relationships"><Relationship Id="rId1" Type="http://schemas.openxmlformats.org/officeDocument/2006/relationships/package" Target="../embeddings/Microsoft_Excel_Worksheet42.xlsx"/></Relationships>
</file>

<file path=ppt/charts/_rels/chart44.xml.rels><?xml version='1.0' encoding='UTF-8' standalone='yes'?>
<Relationships xmlns="http://schemas.openxmlformats.org/package/2006/relationships"><Relationship Id="rId1" Type="http://schemas.openxmlformats.org/officeDocument/2006/relationships/package" Target="../embeddings/Microsoft_Excel_Worksheet43.xlsx"/></Relationships>
</file>

<file path=ppt/charts/_rels/chart45.xml.rels><?xml version='1.0' encoding='UTF-8' standalone='yes'?>
<Relationships xmlns="http://schemas.openxmlformats.org/package/2006/relationships"><Relationship Id="rId1" Type="http://schemas.openxmlformats.org/officeDocument/2006/relationships/package" Target="../embeddings/Microsoft_Excel_Worksheet44.xlsx"/></Relationships>
</file>

<file path=ppt/charts/_rels/chart46.xml.rels><?xml version='1.0' encoding='UTF-8' standalone='yes'?>
<Relationships xmlns="http://schemas.openxmlformats.org/package/2006/relationships"><Relationship Id="rId1" Type="http://schemas.openxmlformats.org/officeDocument/2006/relationships/package" Target="../embeddings/Microsoft_Excel_Worksheet45.xlsx"/></Relationships>
</file>

<file path=ppt/charts/_rels/chart47.xml.rels><?xml version='1.0' encoding='UTF-8' standalone='yes'?>
<Relationships xmlns="http://schemas.openxmlformats.org/package/2006/relationships"><Relationship Id="rId1" Type="http://schemas.openxmlformats.org/officeDocument/2006/relationships/package" Target="../embeddings/Microsoft_Excel_Worksheet46.xlsx"/></Relationships>
</file>

<file path=ppt/charts/_rels/chart48.xml.rels><?xml version='1.0' encoding='UTF-8' standalone='yes'?>
<Relationships xmlns="http://schemas.openxmlformats.org/package/2006/relationships"><Relationship Id="rId1" Type="http://schemas.openxmlformats.org/officeDocument/2006/relationships/package" Target="../embeddings/Microsoft_Excel_Worksheet47.xlsx"/></Relationships>
</file>

<file path=ppt/charts/_rels/chart49.xml.rels><?xml version='1.0' encoding='UTF-8' standalone='yes'?>
<Relationships xmlns="http://schemas.openxmlformats.org/package/2006/relationships"><Relationship Id="rId1" Type="http://schemas.openxmlformats.org/officeDocument/2006/relationships/package" Target="../embeddings/Microsoft_Excel_Worksheet48.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50.xml.rels><?xml version='1.0' encoding='UTF-8' standalone='yes'?>
<Relationships xmlns="http://schemas.openxmlformats.org/package/2006/relationships"><Relationship Id="rId1" Type="http://schemas.openxmlformats.org/officeDocument/2006/relationships/package" Target="../embeddings/Microsoft_Excel_Worksheet49.xlsx"/></Relationships>
</file>

<file path=ppt/charts/_rels/chart51.xml.rels><?xml version='1.0' encoding='UTF-8' standalone='yes'?>
<Relationships xmlns="http://schemas.openxmlformats.org/package/2006/relationships"><Relationship Id="rId1" Type="http://schemas.openxmlformats.org/officeDocument/2006/relationships/package" Target="../embeddings/Microsoft_Excel_Worksheet50.xlsx"/></Relationships>
</file>

<file path=ppt/charts/_rels/chart52.xml.rels><?xml version='1.0' encoding='UTF-8' standalone='yes'?>
<Relationships xmlns="http://schemas.openxmlformats.org/package/2006/relationships"><Relationship Id="rId1" Type="http://schemas.openxmlformats.org/officeDocument/2006/relationships/package" Target="../embeddings/Microsoft_Excel_Worksheet51.xlsx"/></Relationships>
</file>

<file path=ppt/charts/_rels/chart53.xml.rels><?xml version='1.0' encoding='UTF-8' standalone='yes'?>
<Relationships xmlns="http://schemas.openxmlformats.org/package/2006/relationships"><Relationship Id="rId1" Type="http://schemas.openxmlformats.org/officeDocument/2006/relationships/package" Target="../embeddings/Microsoft_Excel_Worksheet52.xlsx"/></Relationships>
</file>

<file path=ppt/charts/_rels/chart54.xml.rels><?xml version='1.0' encoding='UTF-8' standalone='yes'?>
<Relationships xmlns="http://schemas.openxmlformats.org/package/2006/relationships"><Relationship Id="rId1" Type="http://schemas.openxmlformats.org/officeDocument/2006/relationships/package" Target="../embeddings/Microsoft_Excel_Worksheet53.xlsx"/></Relationships>
</file>

<file path=ppt/charts/_rels/chart55.xml.rels><?xml version='1.0' encoding='UTF-8' standalone='yes'?>
<Relationships xmlns="http://schemas.openxmlformats.org/package/2006/relationships"><Relationship Id="rId1" Type="http://schemas.openxmlformats.org/officeDocument/2006/relationships/package" Target="../embeddings/Microsoft_Excel_Worksheet54.xlsx"/></Relationships>
</file>

<file path=ppt/charts/_rels/chart56.xml.rels><?xml version='1.0' encoding='UTF-8' standalone='yes'?>
<Relationships xmlns="http://schemas.openxmlformats.org/package/2006/relationships"><Relationship Id="rId1" Type="http://schemas.openxmlformats.org/officeDocument/2006/relationships/package" Target="../embeddings/Microsoft_Excel_Worksheet55.xlsx"/></Relationships>
</file>

<file path=ppt/charts/_rels/chart57.xml.rels><?xml version='1.0' encoding='UTF-8' standalone='yes'?>
<Relationships xmlns="http://schemas.openxmlformats.org/package/2006/relationships"><Relationship Id="rId1" Type="http://schemas.openxmlformats.org/officeDocument/2006/relationships/package" Target="../embeddings/Microsoft_Excel_Worksheet56.xlsx"/></Relationships>
</file>

<file path=ppt/charts/_rels/chart58.xml.rels><?xml version='1.0' encoding='UTF-8' standalone='yes'?>
<Relationships xmlns="http://schemas.openxmlformats.org/package/2006/relationships"><Relationship Id="rId1" Type="http://schemas.openxmlformats.org/officeDocument/2006/relationships/package" Target="../embeddings/Microsoft_Excel_Worksheet57.xlsx"/></Relationships>
</file>

<file path=ppt/charts/_rels/chart59.xml.rels><?xml version='1.0' encoding='UTF-8' standalone='yes'?>
<Relationships xmlns="http://schemas.openxmlformats.org/package/2006/relationships"><Relationship Id="rId1" Type="http://schemas.openxmlformats.org/officeDocument/2006/relationships/package" Target="../embeddings/Microsoft_Excel_Worksheet58.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60.xml.rels><?xml version='1.0' encoding='UTF-8' standalone='yes'?>
<Relationships xmlns="http://schemas.openxmlformats.org/package/2006/relationships"><Relationship Id="rId1" Type="http://schemas.openxmlformats.org/officeDocument/2006/relationships/package" Target="../embeddings/Microsoft_Excel_Worksheet59.xlsx"/></Relationships>
</file>

<file path=ppt/charts/_rels/chart61.xml.rels><?xml version='1.0' encoding='UTF-8' standalone='yes'?>
<Relationships xmlns="http://schemas.openxmlformats.org/package/2006/relationships"><Relationship Id="rId1" Type="http://schemas.openxmlformats.org/officeDocument/2006/relationships/package" Target="../embeddings/Microsoft_Excel_Worksheet60.xlsx"/></Relationships>
</file>

<file path=ppt/charts/_rels/chart62.xml.rels><?xml version='1.0' encoding='UTF-8' standalone='yes'?>
<Relationships xmlns="http://schemas.openxmlformats.org/package/2006/relationships"><Relationship Id="rId1" Type="http://schemas.openxmlformats.org/officeDocument/2006/relationships/package" Target="../embeddings/Microsoft_Excel_Worksheet61.xlsx"/></Relationships>
</file>

<file path=ppt/charts/_rels/chart63.xml.rels><?xml version='1.0' encoding='UTF-8' standalone='yes'?>
<Relationships xmlns="http://schemas.openxmlformats.org/package/2006/relationships"><Relationship Id="rId1" Type="http://schemas.openxmlformats.org/officeDocument/2006/relationships/package" Target="../embeddings/Microsoft_Excel_Worksheet62.xlsx"/></Relationships>
</file>

<file path=ppt/charts/_rels/chart64.xml.rels><?xml version='1.0' encoding='UTF-8' standalone='yes'?>
<Relationships xmlns="http://schemas.openxmlformats.org/package/2006/relationships"><Relationship Id="rId1" Type="http://schemas.openxmlformats.org/officeDocument/2006/relationships/package" Target="../embeddings/Microsoft_Excel_Worksheet63.xlsx"/></Relationships>
</file>

<file path=ppt/charts/_rels/chart65.xml.rels><?xml version='1.0' encoding='UTF-8' standalone='yes'?>
<Relationships xmlns="http://schemas.openxmlformats.org/package/2006/relationships"><Relationship Id="rId1" Type="http://schemas.openxmlformats.org/officeDocument/2006/relationships/package" Target="../embeddings/Microsoft_Excel_Worksheet64.xlsx"/></Relationships>
</file>

<file path=ppt/charts/_rels/chart66.xml.rels><?xml version='1.0' encoding='UTF-8' standalone='yes'?>
<Relationships xmlns="http://schemas.openxmlformats.org/package/2006/relationships"><Relationship Id="rId1" Type="http://schemas.openxmlformats.org/officeDocument/2006/relationships/package" Target="../embeddings/Microsoft_Excel_Worksheet65.xlsx"/></Relationships>
</file>

<file path=ppt/charts/_rels/chart67.xml.rels><?xml version='1.0' encoding='UTF-8' standalone='yes'?>
<Relationships xmlns="http://schemas.openxmlformats.org/package/2006/relationships"><Relationship Id="rId1" Type="http://schemas.openxmlformats.org/officeDocument/2006/relationships/package" Target="../embeddings/Microsoft_Excel_Worksheet66.xlsx"/></Relationships>
</file>

<file path=ppt/charts/_rels/chart68.xml.rels><?xml version='1.0' encoding='UTF-8' standalone='yes'?>
<Relationships xmlns="http://schemas.openxmlformats.org/package/2006/relationships"><Relationship Id="rId1" Type="http://schemas.openxmlformats.org/officeDocument/2006/relationships/package" Target="../embeddings/Microsoft_Excel_Worksheet67.xlsx"/></Relationships>
</file>

<file path=ppt/charts/_rels/chart69.xml.rels><?xml version='1.0' encoding='UTF-8' standalone='yes'?>
<Relationships xmlns="http://schemas.openxmlformats.org/package/2006/relationships"><Relationship Id="rId1" Type="http://schemas.openxmlformats.org/officeDocument/2006/relationships/package" Target="../embeddings/Microsoft_Excel_Worksheet68.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70.xml.rels><?xml version='1.0' encoding='UTF-8' standalone='yes'?>
<Relationships xmlns="http://schemas.openxmlformats.org/package/2006/relationships"><Relationship Id="rId1" Type="http://schemas.openxmlformats.org/officeDocument/2006/relationships/package" Target="../embeddings/Microsoft_Excel_Worksheet69.xlsx"/></Relationships>
</file>

<file path=ppt/charts/_rels/chart71.xml.rels><?xml version='1.0' encoding='UTF-8' standalone='yes'?>
<Relationships xmlns="http://schemas.openxmlformats.org/package/2006/relationships"><Relationship Id="rId1" Type="http://schemas.openxmlformats.org/officeDocument/2006/relationships/package" Target="../embeddings/Microsoft_Excel_Worksheet70.xlsx"/></Relationships>
</file>

<file path=ppt/charts/_rels/chart72.xml.rels><?xml version='1.0' encoding='UTF-8' standalone='yes'?>
<Relationships xmlns="http://schemas.openxmlformats.org/package/2006/relationships"><Relationship Id="rId1" Type="http://schemas.openxmlformats.org/officeDocument/2006/relationships/package" Target="../embeddings/Microsoft_Excel_Worksheet71.xlsx"/></Relationships>
</file>

<file path=ppt/charts/_rels/chart73.xml.rels><?xml version='1.0' encoding='UTF-8' standalone='yes'?>
<Relationships xmlns="http://schemas.openxmlformats.org/package/2006/relationships"><Relationship Id="rId1" Type="http://schemas.openxmlformats.org/officeDocument/2006/relationships/package" Target="../embeddings/Microsoft_Excel_Worksheet72.xlsx"/></Relationships>
</file>

<file path=ppt/charts/_rels/chart74.xml.rels><?xml version='1.0' encoding='UTF-8' standalone='yes'?>
<Relationships xmlns="http://schemas.openxmlformats.org/package/2006/relationships"><Relationship Id="rId1" Type="http://schemas.openxmlformats.org/officeDocument/2006/relationships/package" Target="../embeddings/Microsoft_Excel_Worksheet73.xlsx"/></Relationships>
</file>

<file path=ppt/charts/_rels/chart75.xml.rels><?xml version='1.0' encoding='UTF-8' standalone='yes'?>
<Relationships xmlns="http://schemas.openxmlformats.org/package/2006/relationships"><Relationship Id="rId1" Type="http://schemas.openxmlformats.org/officeDocument/2006/relationships/package" Target="../embeddings/Microsoft_Excel_Worksheet74.xlsx"/></Relationships>
</file>

<file path=ppt/charts/_rels/chart76.xml.rels><?xml version='1.0' encoding='UTF-8' standalone='yes'?>
<Relationships xmlns="http://schemas.openxmlformats.org/package/2006/relationships"><Relationship Id="rId1" Type="http://schemas.openxmlformats.org/officeDocument/2006/relationships/package" Target="../embeddings/Microsoft_Excel_Worksheet75.xlsx"/></Relationships>
</file>

<file path=ppt/charts/_rels/chart77.xml.rels><?xml version='1.0' encoding='UTF-8' standalone='yes'?>
<Relationships xmlns="http://schemas.openxmlformats.org/package/2006/relationships"><Relationship Id="rId1" Type="http://schemas.openxmlformats.org/officeDocument/2006/relationships/package" Target="../embeddings/Microsoft_Excel_Worksheet76.xlsx"/></Relationships>
</file>

<file path=ppt/charts/_rels/chart78.xml.rels><?xml version='1.0' encoding='UTF-8' standalone='yes'?>
<Relationships xmlns="http://schemas.openxmlformats.org/package/2006/relationships"><Relationship Id="rId1" Type="http://schemas.openxmlformats.org/officeDocument/2006/relationships/package" Target="../embeddings/Microsoft_Excel_Worksheet77.xlsx"/></Relationships>
</file>

<file path=ppt/charts/_rels/chart79.xml.rels><?xml version='1.0' encoding='UTF-8' standalone='yes'?>
<Relationships xmlns="http://schemas.openxmlformats.org/package/2006/relationships"><Relationship Id="rId1" Type="http://schemas.openxmlformats.org/officeDocument/2006/relationships/package" Target="../embeddings/Microsoft_Excel_Worksheet78.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80.xml.rels><?xml version='1.0' encoding='UTF-8' standalone='yes'?>
<Relationships xmlns="http://schemas.openxmlformats.org/package/2006/relationships"><Relationship Id="rId1" Type="http://schemas.openxmlformats.org/officeDocument/2006/relationships/package" Target="../embeddings/Microsoft_Excel_Worksheet79.xlsx"/></Relationships>
</file>

<file path=ppt/charts/_rels/chart81.xml.rels><?xml version='1.0' encoding='UTF-8' standalone='yes'?>
<Relationships xmlns="http://schemas.openxmlformats.org/package/2006/relationships"><Relationship Id="rId1" Type="http://schemas.openxmlformats.org/officeDocument/2006/relationships/package" Target="../embeddings/Microsoft_Excel_Worksheet80.xlsx"/></Relationships>
</file>

<file path=ppt/charts/_rels/chart82.xml.rels><?xml version='1.0' encoding='UTF-8' standalone='yes'?>
<Relationships xmlns="http://schemas.openxmlformats.org/package/2006/relationships"><Relationship Id="rId1" Type="http://schemas.openxmlformats.org/officeDocument/2006/relationships/package" Target="../embeddings/Microsoft_Excel_Worksheet81.xlsx"/></Relationships>
</file>

<file path=ppt/charts/_rels/chart83.xml.rels><?xml version='1.0' encoding='UTF-8' standalone='yes'?>
<Relationships xmlns="http://schemas.openxmlformats.org/package/2006/relationships"><Relationship Id="rId1" Type="http://schemas.openxmlformats.org/officeDocument/2006/relationships/package" Target="../embeddings/Microsoft_Excel_Worksheet82.xlsx"/></Relationships>
</file>

<file path=ppt/charts/_rels/chart84.xml.rels><?xml version='1.0' encoding='UTF-8' standalone='yes'?>
<Relationships xmlns="http://schemas.openxmlformats.org/package/2006/relationships"><Relationship Id="rId1" Type="http://schemas.openxmlformats.org/officeDocument/2006/relationships/package" Target="../embeddings/Microsoft_Excel_Worksheet83.xlsx"/></Relationships>
</file>

<file path=ppt/charts/_rels/chart85.xml.rels><?xml version='1.0' encoding='UTF-8' standalone='yes'?>
<Relationships xmlns="http://schemas.openxmlformats.org/package/2006/relationships"><Relationship Id="rId1" Type="http://schemas.openxmlformats.org/officeDocument/2006/relationships/package" Target="../embeddings/Microsoft_Excel_Worksheet84.xlsx"/></Relationships>
</file>

<file path=ppt/charts/_rels/chart86.xml.rels><?xml version='1.0' encoding='UTF-8' standalone='yes'?>
<Relationships xmlns="http://schemas.openxmlformats.org/package/2006/relationships"><Relationship Id="rId1" Type="http://schemas.openxmlformats.org/officeDocument/2006/relationships/package" Target="../embeddings/Microsoft_Excel_Worksheet85.xlsx"/></Relationships>
</file>

<file path=ppt/charts/_rels/chart87.xml.rels><?xml version='1.0' encoding='UTF-8' standalone='yes'?>
<Relationships xmlns="http://schemas.openxmlformats.org/package/2006/relationships"><Relationship Id="rId1" Type="http://schemas.openxmlformats.org/officeDocument/2006/relationships/package" Target="../embeddings/Microsoft_Excel_Worksheet86.xlsx"/></Relationships>
</file>

<file path=ppt/charts/_rels/chart88.xml.rels><?xml version='1.0' encoding='UTF-8' standalone='yes'?>
<Relationships xmlns="http://schemas.openxmlformats.org/package/2006/relationships"><Relationship Id="rId1" Type="http://schemas.openxmlformats.org/officeDocument/2006/relationships/package" Target="../embeddings/Microsoft_Excel_Worksheet87.xlsx"/></Relationships>
</file>

<file path=ppt/charts/_rels/chart89.xml.rels><?xml version='1.0' encoding='UTF-8' standalone='yes'?>
<Relationships xmlns="http://schemas.openxmlformats.org/package/2006/relationships"><Relationship Id="rId1" Type="http://schemas.openxmlformats.org/officeDocument/2006/relationships/package" Target="../embeddings/Microsoft_Excel_Worksheet88.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_rels/chart90.xml.rels><?xml version='1.0' encoding='UTF-8' standalone='yes'?>
<Relationships xmlns="http://schemas.openxmlformats.org/package/2006/relationships"><Relationship Id="rId1" Type="http://schemas.openxmlformats.org/officeDocument/2006/relationships/package" Target="../embeddings/Microsoft_Excel_Worksheet89.xlsx"/></Relationships>
</file>

<file path=ppt/charts/_rels/chart91.xml.rels><?xml version='1.0' encoding='UTF-8' standalone='yes'?>
<Relationships xmlns="http://schemas.openxmlformats.org/package/2006/relationships"><Relationship Id="rId1" Type="http://schemas.openxmlformats.org/officeDocument/2006/relationships/package" Target="../embeddings/Microsoft_Excel_Worksheet90.xlsx"/></Relationships>
</file>

<file path=ppt/charts/_rels/chart92.xml.rels><?xml version='1.0' encoding='UTF-8' standalone='yes'?>
<Relationships xmlns="http://schemas.openxmlformats.org/package/2006/relationships"><Relationship Id="rId1" Type="http://schemas.openxmlformats.org/officeDocument/2006/relationships/package" Target="../embeddings/Microsoft_Excel_Worksheet91.xlsx"/></Relationships>
</file>

<file path=ppt/charts/_rels/chart93.xml.rels><?xml version='1.0' encoding='UTF-8' standalone='yes'?>
<Relationships xmlns="http://schemas.openxmlformats.org/package/2006/relationships"><Relationship Id="rId1" Type="http://schemas.openxmlformats.org/officeDocument/2006/relationships/package" Target="../embeddings/Microsoft_Excel_Worksheet92.xlsx"/></Relationships>
</file>

<file path=ppt/charts/_rels/chart94.xml.rels><?xml version='1.0' encoding='UTF-8' standalone='yes'?>
<Relationships xmlns="http://schemas.openxmlformats.org/package/2006/relationships"><Relationship Id="rId1" Type="http://schemas.openxmlformats.org/officeDocument/2006/relationships/package" Target="../embeddings/Microsoft_Excel_Worksheet93.xlsx"/></Relationships>
</file>

<file path=ppt/charts/_rels/chart95.xml.rels><?xml version='1.0' encoding='UTF-8' standalone='yes'?>
<Relationships xmlns="http://schemas.openxmlformats.org/package/2006/relationships"><Relationship Id="rId1" Type="http://schemas.openxmlformats.org/officeDocument/2006/relationships/package" Target="../embeddings/Microsoft_Excel_Worksheet94.xlsx"/></Relationships>
</file>

<file path=ppt/charts/_rels/chart96.xml.rels><?xml version='1.0' encoding='UTF-8' standalone='yes'?>
<Relationships xmlns="http://schemas.openxmlformats.org/package/2006/relationships"><Relationship Id="rId1" Type="http://schemas.openxmlformats.org/officeDocument/2006/relationships/package" Target="../embeddings/Microsoft_Excel_Worksheet95.xlsx"/></Relationships>
</file>

<file path=ppt/charts/_rels/chart97.xml.rels><?xml version='1.0' encoding='UTF-8' standalone='yes'?>
<Relationships xmlns="http://schemas.openxmlformats.org/package/2006/relationships"><Relationship Id="rId1" Type="http://schemas.openxmlformats.org/officeDocument/2006/relationships/package" Target="../embeddings/Microsoft_Excel_Worksheet96.xlsx"/></Relationships>
</file>

<file path=ppt/charts/_rels/chart98.xml.rels><?xml version='1.0' encoding='UTF-8' standalone='yes'?>
<Relationships xmlns="http://schemas.openxmlformats.org/package/2006/relationships"><Relationship Id="rId1" Type="http://schemas.openxmlformats.org/officeDocument/2006/relationships/package" Target="../embeddings/Microsoft_Excel_Worksheet97.xlsx"/></Relationships>
</file>

<file path=ppt/charts/_rels/chart99.xml.rels><?xml version='1.0' encoding='UTF-8' standalone='yes'?>
<Relationships xmlns="http://schemas.openxmlformats.org/package/2006/relationships"><Relationship Id="rId1" Type="http://schemas.openxmlformats.org/officeDocument/2006/relationships/package" Target="../embeddings/Microsoft_Excel_Worksheet9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1.5444833696659258e-05</c:v>
                </c:pt>
                <c:pt idx="1">
                  <c:v>0.0014288275396457098</c:v>
                </c:pt>
                <c:pt idx="2">
                  <c:v>0.0008711224294308466</c:v>
                </c:pt>
                <c:pt idx="3">
                  <c:v>0.00658809637792864</c:v>
                </c:pt>
                <c:pt idx="4">
                  <c:v>0.002724947190615666</c:v>
                </c:pt>
                <c:pt idx="5">
                  <c:v>0.0024211355111822316</c:v>
                </c:pt>
                <c:pt idx="6">
                  <c:v>0.020525051383394794</c:v>
                </c:pt>
                <c:pt idx="7">
                  <c:v>0.01640976032842305</c:v>
                </c:pt>
                <c:pt idx="8">
                  <c:v>0.034463408809668514</c:v>
                </c:pt>
                <c:pt idx="9">
                  <c:v>0.016358597650737352</c:v>
                </c:pt>
                <c:pt idx="10">
                  <c:v>0.01181995170846846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2.49 €</c:v>
                </c:pt>
                <c:pt idx="8">
                  <c:v>2.5-2.99 €</c:v>
                </c:pt>
                <c:pt idx="9">
                  <c:v>1.5-1.99 €</c:v>
                </c:pt>
                <c:pt idx="10">
                  <c:v>0-1.49 €</c:v>
                </c:pt>
              </c:strCache>
            </c:strRef>
          </c:cat>
          <c:val>
            <c:numRef>
              <c:f>Sheet1!$B$2:$B$12</c:f>
              <c:numCache>
                <c:formatCode>General</c:formatCode>
                <c:ptCount val="11"/>
                <c:pt idx="0">
                  <c:v/>
                </c:pt>
                <c:pt idx="1">
                  <c:v/>
                </c:pt>
                <c:pt idx="2">
                  <c:v/>
                </c:pt>
                <c:pt idx="3">
                  <c:v/>
                </c:pt>
                <c:pt idx="4">
                  <c:v/>
                </c:pt>
                <c:pt idx="5">
                  <c:v/>
                </c:pt>
                <c:pt idx="6">
                  <c:v/>
                </c:pt>
                <c:pt idx="7">
                  <c:v/>
                </c:pt>
                <c:pt idx="8">
                  <c:v/>
                </c:pt>
                <c:pt idx="9">
                  <c:v/>
                </c:pt>
                <c:pt idx="10">
                  <c:v>5.872709643239137e-06</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2.49 €</c:v>
                </c:pt>
                <c:pt idx="8">
                  <c:v>2.5-2.99 €</c:v>
                </c:pt>
                <c:pt idx="9">
                  <c:v>1.5-1.99 €</c:v>
                </c:pt>
                <c:pt idx="10">
                  <c:v>0-1.49 €</c:v>
                </c:pt>
              </c:strCache>
            </c:strRef>
          </c:cat>
          <c:val>
            <c:numRef>
              <c:f>Sheet1!$B$2:$B$12</c:f>
              <c:numCache>
                <c:formatCode>General</c:formatCode>
                <c:ptCount val="11"/>
                <c:pt idx="0">
                  <c:v>0.075987114333625</c:v>
                </c:pt>
                <c:pt idx="1">
                  <c:v>0.006073270753232594</c:v>
                </c:pt>
                <c:pt idx="2">
                  <c:v>0.008872227675741015</c:v>
                </c:pt>
                <c:pt idx="3">
                  <c:v>0.026528305498242234</c:v>
                </c:pt>
                <c:pt idx="4">
                  <c:v>0.10924557874443219</c:v>
                </c:pt>
                <c:pt idx="5">
                  <c:v>0.06854512308483184</c:v>
                </c:pt>
                <c:pt idx="6">
                  <c:v>0.21779239683916565</c:v>
                </c:pt>
                <c:pt idx="7">
                  <c:v>0.1584990112741501</c:v>
                </c:pt>
                <c:pt idx="8">
                  <c:v>0.26116784386660485</c:v>
                </c:pt>
                <c:pt idx="9">
                  <c:v>0.05249614448092028</c:v>
                </c:pt>
                <c:pt idx="10">
                  <c:v>0.014792983449054269</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2.49 €</c:v>
                </c:pt>
                <c:pt idx="8">
                  <c:v>2.5-2.99 €</c:v>
                </c:pt>
                <c:pt idx="9">
                  <c:v>1.5-1.99 €</c:v>
                </c:pt>
                <c:pt idx="10">
                  <c:v>0-1.49 €</c:v>
                </c:pt>
              </c:strCache>
            </c:strRef>
          </c:cat>
          <c:val>
            <c:numRef>
              <c:f>Sheet1!$B$2:$B$12</c:f>
              <c:numCache>
                <c:formatCode>General</c:formatCode>
                <c:ptCount val="11"/>
                <c:pt idx="0">
                  <c:v>5.872709643239137e-06</c:v>
                </c:pt>
                <c:pt idx="1">
                  <c:v/>
                </c:pt>
                <c:pt idx="2">
                  <c:v/>
                </c:pt>
                <c:pt idx="3">
                  <c:v/>
                </c:pt>
                <c:pt idx="4">
                  <c:v/>
                </c:pt>
                <c:pt idx="5">
                  <c:v/>
                </c:pt>
                <c:pt idx="6">
                  <c:v/>
                </c:pt>
                <c:pt idx="7">
                  <c:v/>
                </c:pt>
                <c:pt idx="8">
                  <c:v/>
                </c:pt>
                <c:pt idx="9">
                  <c:v/>
                </c:pt>
                <c:pt idx="10">
                  <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0.0013820749780182892</c:v>
                </c:pt>
                <c:pt idx="1">
                  <c:v>0.000105581416291328</c:v>
                </c:pt>
                <c:pt idx="2">
                  <c:v>0.00016108074060959914</c:v>
                </c:pt>
                <c:pt idx="3">
                  <c:v>0.000507040464211404</c:v>
                </c:pt>
                <c:pt idx="4">
                  <c:v>0.0019637434742806274</c:v>
                </c:pt>
                <c:pt idx="5">
                  <c:v>0.0012100492434937431</c:v>
                </c:pt>
                <c:pt idx="6">
                  <c:v>0.003893627295887939</c:v>
                </c:pt>
                <c:pt idx="7">
                  <c:v>0.004799968237281767</c:v>
                </c:pt>
                <c:pt idx="8">
                  <c:v>0.0028677249418169446</c:v>
                </c:pt>
                <c:pt idx="9">
                  <c:v>0.0009048494470347405</c:v>
                </c:pt>
                <c:pt idx="10">
                  <c:v>0.000313986219636298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
                </c:pt>
                <c:pt idx="1">
                  <c:v/>
                </c:pt>
                <c:pt idx="2">
                  <c:v>2.5516269030972075e-07</c:v>
                </c:pt>
                <c:pt idx="3">
                  <c:v>0.07015941668175954</c:v>
                </c:pt>
                <c:pt idx="4">
                  <c:v>0.0390813591997439</c:v>
                </c:pt>
                <c:pt idx="5">
                  <c:v>0.04124769773083601</c:v>
                </c:pt>
                <c:pt idx="6">
                  <c:v>0.022447565871506092</c:v>
                </c:pt>
                <c:pt idx="7">
                  <c:v>0.07007288007793164</c:v>
                </c:pt>
                <c:pt idx="8">
                  <c:v>0.017753607601293627</c:v>
                </c:pt>
                <c:pt idx="9">
                  <c:v>0.0001309494926669487</c:v>
                </c:pt>
                <c:pt idx="10">
                  <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0.00582909441113341</c:v>
                </c:pt>
                <c:pt idx="1">
                  <c:v>0.00046589041991429523</c:v>
                </c:pt>
                <c:pt idx="2">
                  <c:v>0.0006806029313325278</c:v>
                </c:pt>
                <c:pt idx="3">
                  <c:v>0.0020350292108436557</c:v>
                </c:pt>
                <c:pt idx="4">
                  <c:v>0.008380404994777034</c:v>
                </c:pt>
                <c:pt idx="5">
                  <c:v>0.005258207228793761</c:v>
                </c:pt>
                <c:pt idx="6">
                  <c:v>0.016707206930224885</c:v>
                </c:pt>
                <c:pt idx="7">
                  <c:v>0.02003460760947631</c:v>
                </c:pt>
                <c:pt idx="8">
                  <c:v>0.012158715446567272</c:v>
                </c:pt>
                <c:pt idx="9">
                  <c:v>0.004027064129008179</c:v>
                </c:pt>
                <c:pt idx="10">
                  <c:v>0.0011347936805216176</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5.9131908028297804e-06</c:v>
                </c:pt>
                <c:pt idx="1">
                  <c:v>2.0055227548059046e-05</c:v>
                </c:pt>
                <c:pt idx="2">
                  <c:v>3.1137291430285486e-05</c:v>
                </c:pt>
                <c:pt idx="3">
                  <c:v>0.06730220097645388</c:v>
                </c:pt>
                <c:pt idx="4">
                  <c:v>0.07325827275035034</c:v>
                </c:pt>
                <c:pt idx="5">
                  <c:v>0.0346323593536196</c:v>
                </c:pt>
                <c:pt idx="6">
                  <c:v>0.031598520312906206</c:v>
                </c:pt>
                <c:pt idx="7">
                  <c:v>0.040062529304925924</c:v>
                </c:pt>
                <c:pt idx="8">
                  <c:v>0.01794794002006598</c:v>
                </c:pt>
                <c:pt idx="9">
                  <c:v>0.013892483552955994</c:v>
                </c:pt>
                <c:pt idx="10">
                  <c:v>1.2405295390551985e-07</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
                </c:pt>
                <c:pt idx="1">
                  <c:v/>
                </c:pt>
                <c:pt idx="2">
                  <c:v/>
                </c:pt>
                <c:pt idx="3">
                  <c:v/>
                </c:pt>
                <c:pt idx="4">
                  <c:v/>
                </c:pt>
                <c:pt idx="5">
                  <c:v/>
                </c:pt>
                <c:pt idx="6">
                  <c:v/>
                </c:pt>
                <c:pt idx="7">
                  <c:v/>
                </c:pt>
                <c:pt idx="8">
                  <c:v/>
                </c:pt>
                <c:pt idx="9">
                  <c:v/>
                </c:pt>
                <c:pt idx="10">
                  <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1.2405295390551985e-07</c:v>
                </c:pt>
                <c:pt idx="1">
                  <c:v>0.013892483552955994</c:v>
                </c:pt>
                <c:pt idx="2">
                  <c:v>0.01794794002006598</c:v>
                </c:pt>
                <c:pt idx="3">
                  <c:v>0.040062529304925924</c:v>
                </c:pt>
                <c:pt idx="4">
                  <c:v>0.0346323593536196</c:v>
                </c:pt>
                <c:pt idx="5">
                  <c:v>0.031598520312906206</c:v>
                </c:pt>
                <c:pt idx="6">
                  <c:v>0.06730220097645388</c:v>
                </c:pt>
                <c:pt idx="7">
                  <c:v>0.07325827275035034</c:v>
                </c:pt>
                <c:pt idx="8">
                  <c:v>2.0055227548059046e-05</c:v>
                </c:pt>
                <c:pt idx="9">
                  <c:v>3.1137291430285486e-05</c:v>
                </c:pt>
                <c:pt idx="10">
                  <c:v>5.9131908028297804e-06</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0.0013820749780182892</c:v>
                </c:pt>
                <c:pt idx="1">
                  <c:v>0.000105581416291328</c:v>
                </c:pt>
                <c:pt idx="2">
                  <c:v>0.00016108074060959914</c:v>
                </c:pt>
                <c:pt idx="3">
                  <c:v>0.000507040464211404</c:v>
                </c:pt>
                <c:pt idx="4">
                  <c:v>0.0019637434742806274</c:v>
                </c:pt>
                <c:pt idx="5">
                  <c:v>0.0012100492434937431</c:v>
                </c:pt>
                <c:pt idx="6">
                  <c:v>0.003893627295887939</c:v>
                </c:pt>
                <c:pt idx="7">
                  <c:v>0.004799968237281767</c:v>
                </c:pt>
                <c:pt idx="8">
                  <c:v>0.0028677249418169446</c:v>
                </c:pt>
                <c:pt idx="9">
                  <c:v>0.0009048494470347405</c:v>
                </c:pt>
                <c:pt idx="10">
                  <c:v>0.000313986219636298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
                </c:pt>
                <c:pt idx="1">
                  <c:v/>
                </c:pt>
                <c:pt idx="2">
                  <c:v>0.034267255754208456</c:v>
                </c:pt>
                <c:pt idx="3">
                  <c:v>0.006827337072079137</c:v>
                </c:pt>
                <c:pt idx="4">
                  <c:v>0.009911853027981745</c:v>
                </c:pt>
                <c:pt idx="5">
                  <c:v>0.026441787850900917</c:v>
                </c:pt>
                <c:pt idx="6">
                  <c:v>1.4726532412161027e-06</c:v>
                </c:pt>
                <c:pt idx="7">
                  <c:v>0.0641718200234897</c:v>
                </c:pt>
                <c:pt idx="8">
                  <c:v>0.06276456862498127</c:v>
                </c:pt>
                <c:pt idx="9">
                  <c:v/>
                </c:pt>
                <c:pt idx="10">
                  <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0.00582909441113341</c:v>
                </c:pt>
                <c:pt idx="1">
                  <c:v>0.00046589041991429523</c:v>
                </c:pt>
                <c:pt idx="2">
                  <c:v>0.0006806029313325278</c:v>
                </c:pt>
                <c:pt idx="3">
                  <c:v>0.0020350292108436557</c:v>
                </c:pt>
                <c:pt idx="4">
                  <c:v>0.008380404994777034</c:v>
                </c:pt>
                <c:pt idx="5">
                  <c:v>0.005258207228793761</c:v>
                </c:pt>
                <c:pt idx="6">
                  <c:v>0.016707206930224885</c:v>
                </c:pt>
                <c:pt idx="7">
                  <c:v>0.02003460760947631</c:v>
                </c:pt>
                <c:pt idx="8">
                  <c:v>0.012158715446567272</c:v>
                </c:pt>
                <c:pt idx="9">
                  <c:v>0.004027064129008179</c:v>
                </c:pt>
                <c:pt idx="10">
                  <c:v>0.0011347936805216176</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1.9434962778531443e-06</c:v>
                </c:pt>
                <c:pt idx="1">
                  <c:v>2.2329531702993578e-06</c:v>
                </c:pt>
                <c:pt idx="2">
                  <c:v>0.027770080751443327</c:v>
                </c:pt>
                <c:pt idx="3">
                  <c:v>0.0318619674360169</c:v>
                </c:pt>
                <c:pt idx="4">
                  <c:v>0.01691900346938896</c:v>
                </c:pt>
                <c:pt idx="5">
                  <c:v>0.020802357138447355</c:v>
                </c:pt>
                <c:pt idx="6">
                  <c:v>0.017400080824634567</c:v>
                </c:pt>
                <c:pt idx="7">
                  <c:v>0.0519806273945063</c:v>
                </c:pt>
                <c:pt idx="8">
                  <c:v>0.06171832941525862</c:v>
                </c:pt>
                <c:pt idx="9">
                  <c:v/>
                </c:pt>
                <c:pt idx="10">
                  <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
                </c:pt>
                <c:pt idx="1">
                  <c:v/>
                </c:pt>
                <c:pt idx="2">
                  <c:v/>
                </c:pt>
                <c:pt idx="3">
                  <c:v/>
                </c:pt>
                <c:pt idx="4">
                  <c:v/>
                </c:pt>
                <c:pt idx="5">
                  <c:v/>
                </c:pt>
                <c:pt idx="6">
                  <c:v/>
                </c:pt>
                <c:pt idx="7">
                  <c:v/>
                </c:pt>
                <c:pt idx="8">
                  <c:v/>
                </c:pt>
                <c:pt idx="9">
                  <c:v/>
                </c:pt>
                <c:pt idx="10">
                  <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
                </c:pt>
                <c:pt idx="1">
                  <c:v/>
                </c:pt>
                <c:pt idx="2">
                  <c:v>0.06171832941525862</c:v>
                </c:pt>
                <c:pt idx="3">
                  <c:v>0.0519806273945063</c:v>
                </c:pt>
                <c:pt idx="4">
                  <c:v>0.020802357138447355</c:v>
                </c:pt>
                <c:pt idx="5">
                  <c:v>0.017400080824634567</c:v>
                </c:pt>
                <c:pt idx="6">
                  <c:v>0.0318619674360169</c:v>
                </c:pt>
                <c:pt idx="7">
                  <c:v>0.01691900346938896</c:v>
                </c:pt>
                <c:pt idx="8">
                  <c:v>2.2329531702993578e-06</c:v>
                </c:pt>
                <c:pt idx="9">
                  <c:v>0.027770080751443327</c:v>
                </c:pt>
                <c:pt idx="10">
                  <c:v>1.9434962778531443e-06</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2.49 €</c:v>
                </c:pt>
                <c:pt idx="8">
                  <c:v>2.5-2.99 €</c:v>
                </c:pt>
                <c:pt idx="9">
                  <c:v>1.5-1.99 €</c:v>
                </c:pt>
                <c:pt idx="10">
                  <c:v>0-1.49 €</c:v>
                </c:pt>
              </c:strCache>
            </c:strRef>
          </c:cat>
          <c:val>
            <c:numRef>
              <c:f>Sheet1!$B$2:$B$12</c:f>
              <c:numCache>
                <c:formatCode>General</c:formatCode>
                <c:ptCount val="11"/>
                <c:pt idx="0">
                  <c:v>1.5444833696659258e-05</c:v>
                </c:pt>
                <c:pt idx="1">
                  <c:v>0.0014288275396457098</c:v>
                </c:pt>
                <c:pt idx="2">
                  <c:v>0.0008711224294308466</c:v>
                </c:pt>
                <c:pt idx="3">
                  <c:v>0.00658809637792864</c:v>
                </c:pt>
                <c:pt idx="4">
                  <c:v>0.002724947190615666</c:v>
                </c:pt>
                <c:pt idx="5">
                  <c:v>0.0024211355111822316</c:v>
                </c:pt>
                <c:pt idx="6">
                  <c:v>0.020525051383394794</c:v>
                </c:pt>
                <c:pt idx="7">
                  <c:v>0.034463408809668514</c:v>
                </c:pt>
                <c:pt idx="8">
                  <c:v>0.01640976032842305</c:v>
                </c:pt>
                <c:pt idx="9">
                  <c:v>0.016358597650737352</c:v>
                </c:pt>
                <c:pt idx="10">
                  <c:v>0.01181995170846846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0.0013820749780182892</c:v>
                </c:pt>
                <c:pt idx="1">
                  <c:v>0.000105581416291328</c:v>
                </c:pt>
                <c:pt idx="2">
                  <c:v>0.00016108074060959914</c:v>
                </c:pt>
                <c:pt idx="3">
                  <c:v>0.000507040464211404</c:v>
                </c:pt>
                <c:pt idx="4">
                  <c:v>0.0019637434742806274</c:v>
                </c:pt>
                <c:pt idx="5">
                  <c:v>0.0012100492434937431</c:v>
                </c:pt>
                <c:pt idx="6">
                  <c:v>0.003893627295887939</c:v>
                </c:pt>
                <c:pt idx="7">
                  <c:v>0.004799968237281767</c:v>
                </c:pt>
                <c:pt idx="8">
                  <c:v>0.0028677249418169446</c:v>
                </c:pt>
                <c:pt idx="9">
                  <c:v>0.0009048494470347405</c:v>
                </c:pt>
                <c:pt idx="10">
                  <c:v>0.000313986219636298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
                </c:pt>
                <c:pt idx="1">
                  <c:v/>
                </c:pt>
                <c:pt idx="2">
                  <c:v>2.5516269030972075e-07</c:v>
                </c:pt>
                <c:pt idx="3">
                  <c:v>0.07015941668175954</c:v>
                </c:pt>
                <c:pt idx="4">
                  <c:v>0.0390813591997439</c:v>
                </c:pt>
                <c:pt idx="5">
                  <c:v>0.04124769773083601</c:v>
                </c:pt>
                <c:pt idx="6">
                  <c:v>0.022447565871506092</c:v>
                </c:pt>
                <c:pt idx="7">
                  <c:v>0.07007288007793164</c:v>
                </c:pt>
                <c:pt idx="8">
                  <c:v>0.017753607601293627</c:v>
                </c:pt>
                <c:pt idx="9">
                  <c:v>0.0001309494926669487</c:v>
                </c:pt>
                <c:pt idx="10">
                  <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0.00582909441113341</c:v>
                </c:pt>
                <c:pt idx="1">
                  <c:v>0.00046589041991429523</c:v>
                </c:pt>
                <c:pt idx="2">
                  <c:v>0.0006806029313325278</c:v>
                </c:pt>
                <c:pt idx="3">
                  <c:v>0.0020350292108436557</c:v>
                </c:pt>
                <c:pt idx="4">
                  <c:v>0.008380404994777034</c:v>
                </c:pt>
                <c:pt idx="5">
                  <c:v>0.005258207228793761</c:v>
                </c:pt>
                <c:pt idx="6">
                  <c:v>0.016707206930224885</c:v>
                </c:pt>
                <c:pt idx="7">
                  <c:v>0.02003460760947631</c:v>
                </c:pt>
                <c:pt idx="8">
                  <c:v>0.012158715446567272</c:v>
                </c:pt>
                <c:pt idx="9">
                  <c:v>0.004027064129008179</c:v>
                </c:pt>
                <c:pt idx="10">
                  <c:v>0.0011347936805216176</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
                </c:pt>
                <c:pt idx="1">
                  <c:v/>
                </c:pt>
                <c:pt idx="2">
                  <c:v>0.009624955572558335</c:v>
                </c:pt>
                <c:pt idx="3">
                  <c:v>0.07844769750622496</c:v>
                </c:pt>
                <c:pt idx="4">
                  <c:v>0.08989056765723218</c:v>
                </c:pt>
                <c:pt idx="5">
                  <c:v>0.0011853292649575801</c:v>
                </c:pt>
                <c:pt idx="6">
                  <c:v>0.009911237300409399</c:v>
                </c:pt>
                <c:pt idx="7">
                  <c:v>0.09702676708548813</c:v>
                </c:pt>
                <c:pt idx="8">
                  <c:v>0.003708295819672215</c:v>
                </c:pt>
                <c:pt idx="9">
                  <c:v/>
                </c:pt>
                <c:pt idx="10">
                  <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0.075987114333625</c:v>
                </c:pt>
                <c:pt idx="1">
                  <c:v>0.006073270753232594</c:v>
                </c:pt>
                <c:pt idx="2">
                  <c:v>0.008872227675741015</c:v>
                </c:pt>
                <c:pt idx="3">
                  <c:v>0.026528305498242234</c:v>
                </c:pt>
                <c:pt idx="4">
                  <c:v>0.10924557874443219</c:v>
                </c:pt>
                <c:pt idx="5">
                  <c:v>0.06854512308483184</c:v>
                </c:pt>
                <c:pt idx="6">
                  <c:v>0.21779239683916565</c:v>
                </c:pt>
                <c:pt idx="7">
                  <c:v>0.26116784386660485</c:v>
                </c:pt>
                <c:pt idx="8">
                  <c:v>0.1584990112741501</c:v>
                </c:pt>
                <c:pt idx="9">
                  <c:v>0.05249614448092028</c:v>
                </c:pt>
                <c:pt idx="10">
                  <c:v>0.014792983449054269</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
                </c:pt>
                <c:pt idx="1">
                  <c:v/>
                </c:pt>
                <c:pt idx="2">
                  <c:v>0.003708295819672215</c:v>
                </c:pt>
                <c:pt idx="3">
                  <c:v>0.09702676708548813</c:v>
                </c:pt>
                <c:pt idx="4">
                  <c:v>0.0011853292649575801</c:v>
                </c:pt>
                <c:pt idx="5">
                  <c:v>0.009911237300409399</c:v>
                </c:pt>
                <c:pt idx="6">
                  <c:v>0.07844769750622496</c:v>
                </c:pt>
                <c:pt idx="7">
                  <c:v>0.08989056765723218</c:v>
                </c:pt>
                <c:pt idx="8">
                  <c:v/>
                </c:pt>
                <c:pt idx="9">
                  <c:v>0.009624955572558335</c:v>
                </c:pt>
                <c:pt idx="10">
                  <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2.49 €</c:v>
                </c:pt>
                <c:pt idx="8">
                  <c:v>2.5-2.99 €</c:v>
                </c:pt>
                <c:pt idx="9">
                  <c:v>1.5-1.99 €</c:v>
                </c:pt>
                <c:pt idx="10">
                  <c:v>0-1.49 €</c:v>
                </c:pt>
              </c:strCache>
            </c:strRef>
          </c:cat>
          <c:val>
            <c:numRef>
              <c:f>Sheet1!$B$2:$B$12</c:f>
              <c:numCache>
                <c:formatCode>General</c:formatCode>
                <c:ptCount val="11"/>
                <c:pt idx="0">
                  <c:v>1.4877245075701976e-07</c:v>
                </c:pt>
                <c:pt idx="1">
                  <c:v/>
                </c:pt>
                <c:pt idx="2">
                  <c:v/>
                </c:pt>
                <c:pt idx="3">
                  <c:v/>
                </c:pt>
                <c:pt idx="4">
                  <c:v/>
                </c:pt>
                <c:pt idx="5">
                  <c:v/>
                </c:pt>
                <c:pt idx="6">
                  <c:v/>
                </c:pt>
                <c:pt idx="7">
                  <c:v/>
                </c:pt>
                <c:pt idx="8">
                  <c:v/>
                </c:pt>
                <c:pt idx="9">
                  <c:v/>
                </c:pt>
                <c:pt idx="10">
                  <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0.0013820749780182892</c:v>
                </c:pt>
                <c:pt idx="1">
                  <c:v>0.000105581416291328</c:v>
                </c:pt>
                <c:pt idx="2">
                  <c:v>0.00016108074060959914</c:v>
                </c:pt>
                <c:pt idx="3">
                  <c:v>0.000507040464211404</c:v>
                </c:pt>
                <c:pt idx="4">
                  <c:v>0.0019637434742806274</c:v>
                </c:pt>
                <c:pt idx="5">
                  <c:v>0.0012100492434937431</c:v>
                </c:pt>
                <c:pt idx="6">
                  <c:v>0.003893627295887939</c:v>
                </c:pt>
                <c:pt idx="7">
                  <c:v>0.004799968237281767</c:v>
                </c:pt>
                <c:pt idx="8">
                  <c:v>0.0028677249418169446</c:v>
                </c:pt>
                <c:pt idx="9">
                  <c:v>0.0009048494470347405</c:v>
                </c:pt>
                <c:pt idx="10">
                  <c:v>0.000313986219636298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
                </c:pt>
                <c:pt idx="1">
                  <c:v/>
                </c:pt>
                <c:pt idx="2">
                  <c:v>0.034267255754208456</c:v>
                </c:pt>
                <c:pt idx="3">
                  <c:v>0.006827337072079137</c:v>
                </c:pt>
                <c:pt idx="4">
                  <c:v>0.009911853027981745</c:v>
                </c:pt>
                <c:pt idx="5">
                  <c:v>0.026441787850900917</c:v>
                </c:pt>
                <c:pt idx="6">
                  <c:v>1.4726532412161027e-06</c:v>
                </c:pt>
                <c:pt idx="7">
                  <c:v>0.0641718200234897</c:v>
                </c:pt>
                <c:pt idx="8">
                  <c:v>0.06276456862498127</c:v>
                </c:pt>
                <c:pt idx="9">
                  <c:v/>
                </c:pt>
                <c:pt idx="10">
                  <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0.00582909441113341</c:v>
                </c:pt>
                <c:pt idx="1">
                  <c:v>0.00046589041991429523</c:v>
                </c:pt>
                <c:pt idx="2">
                  <c:v>0.0006806029313325278</c:v>
                </c:pt>
                <c:pt idx="3">
                  <c:v>0.0020350292108436557</c:v>
                </c:pt>
                <c:pt idx="4">
                  <c:v>0.008380404994777034</c:v>
                </c:pt>
                <c:pt idx="5">
                  <c:v>0.005258207228793761</c:v>
                </c:pt>
                <c:pt idx="6">
                  <c:v>0.016707206930224885</c:v>
                </c:pt>
                <c:pt idx="7">
                  <c:v>0.02003460760947631</c:v>
                </c:pt>
                <c:pt idx="8">
                  <c:v>0.012158715446567272</c:v>
                </c:pt>
                <c:pt idx="9">
                  <c:v>0.004027064129008179</c:v>
                </c:pt>
                <c:pt idx="10">
                  <c:v>0.0011347936805216176</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2.6886924350949647e-05</c:v>
                </c:pt>
                <c:pt idx="1">
                  <c:v>0.03889779998381663</c:v>
                </c:pt>
                <c:pt idx="2">
                  <c:v>0.008003546001222972</c:v>
                </c:pt>
                <c:pt idx="3">
                  <c:v/>
                </c:pt>
                <c:pt idx="4">
                  <c:v>0.000746483446360842</c:v>
                </c:pt>
                <c:pt idx="5">
                  <c:v>0.052241447653462884</c:v>
                </c:pt>
                <c:pt idx="6">
                  <c:v>0.007650994406495471</c:v>
                </c:pt>
                <c:pt idx="7">
                  <c:v>0.06491184673736135</c:v>
                </c:pt>
                <c:pt idx="8">
                  <c:v>0.0617145561199249</c:v>
                </c:pt>
                <c:pt idx="9">
                  <c:v/>
                </c:pt>
                <c:pt idx="10">
                  <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0.075987114333625</c:v>
                </c:pt>
                <c:pt idx="1">
                  <c:v>0.006073270753232594</c:v>
                </c:pt>
                <c:pt idx="2">
                  <c:v>0.008872227675741015</c:v>
                </c:pt>
                <c:pt idx="3">
                  <c:v>0.026528305498242234</c:v>
                </c:pt>
                <c:pt idx="4">
                  <c:v>0.10924557874443219</c:v>
                </c:pt>
                <c:pt idx="5">
                  <c:v>0.06854512308483184</c:v>
                </c:pt>
                <c:pt idx="6">
                  <c:v>0.21779239683916565</c:v>
                </c:pt>
                <c:pt idx="7">
                  <c:v>0.26116784386660485</c:v>
                </c:pt>
                <c:pt idx="8">
                  <c:v>0.1584990112741501</c:v>
                </c:pt>
                <c:pt idx="9">
                  <c:v>0.05249614448092028</c:v>
                </c:pt>
                <c:pt idx="10">
                  <c:v>0.014792983449054269</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2.49 €</c:v>
                </c:pt>
                <c:pt idx="8">
                  <c:v>2.5-2.99 €</c:v>
                </c:pt>
                <c:pt idx="9">
                  <c:v>1.5-1.99 €</c:v>
                </c:pt>
                <c:pt idx="10">
                  <c:v>0-1.49 €</c:v>
                </c:pt>
              </c:strCache>
            </c:strRef>
          </c:cat>
          <c:val>
            <c:numRef>
              <c:f>Sheet1!$B$2:$B$12</c:f>
              <c:numCache>
                <c:formatCode>General</c:formatCode>
                <c:ptCount val="11"/>
                <c:pt idx="0">
                  <c:v>0.00582909441113341</c:v>
                </c:pt>
                <c:pt idx="1">
                  <c:v>0.00046589041991429523</c:v>
                </c:pt>
                <c:pt idx="2">
                  <c:v>0.0006806029313325278</c:v>
                </c:pt>
                <c:pt idx="3">
                  <c:v>0.0020350292108436557</c:v>
                </c:pt>
                <c:pt idx="4">
                  <c:v>0.008380404994777034</c:v>
                </c:pt>
                <c:pt idx="5">
                  <c:v>0.005258207228793761</c:v>
                </c:pt>
                <c:pt idx="6">
                  <c:v>0.016707206930224885</c:v>
                </c:pt>
                <c:pt idx="7">
                  <c:v>0.012158715446567272</c:v>
                </c:pt>
                <c:pt idx="8">
                  <c:v>0.02003460760947631</c:v>
                </c:pt>
                <c:pt idx="9">
                  <c:v>0.004027064129008179</c:v>
                </c:pt>
                <c:pt idx="10">
                  <c:v>0.0011347936805216176</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
                </c:pt>
                <c:pt idx="1">
                  <c:v/>
                </c:pt>
                <c:pt idx="2">
                  <c:v>0.0617145561199249</c:v>
                </c:pt>
                <c:pt idx="3">
                  <c:v>0.06491184673736135</c:v>
                </c:pt>
                <c:pt idx="4">
                  <c:v>0.052241447653462884</c:v>
                </c:pt>
                <c:pt idx="5">
                  <c:v>0.007650994406495471</c:v>
                </c:pt>
                <c:pt idx="6">
                  <c:v/>
                </c:pt>
                <c:pt idx="7">
                  <c:v>0.000746483446360842</c:v>
                </c:pt>
                <c:pt idx="8">
                  <c:v>0.03889779998381663</c:v>
                </c:pt>
                <c:pt idx="9">
                  <c:v>0.008003546001222972</c:v>
                </c:pt>
                <c:pt idx="10">
                  <c:v>2.6886924350949647e-05</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0.0013820749780182892</c:v>
                </c:pt>
                <c:pt idx="1">
                  <c:v>0.000105581416291328</c:v>
                </c:pt>
                <c:pt idx="2">
                  <c:v>0.00016108074060959914</c:v>
                </c:pt>
                <c:pt idx="3">
                  <c:v>0.000507040464211404</c:v>
                </c:pt>
                <c:pt idx="4">
                  <c:v>0.0019637434742806274</c:v>
                </c:pt>
                <c:pt idx="5">
                  <c:v>0.0012100492434937431</c:v>
                </c:pt>
                <c:pt idx="6">
                  <c:v>0.003893627295887939</c:v>
                </c:pt>
                <c:pt idx="7">
                  <c:v>0.004799968237281767</c:v>
                </c:pt>
                <c:pt idx="8">
                  <c:v>0.0028677249418169446</c:v>
                </c:pt>
                <c:pt idx="9">
                  <c:v>0.0009048494470347405</c:v>
                </c:pt>
                <c:pt idx="10">
                  <c:v>0.000313986219636298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
                </c:pt>
                <c:pt idx="1">
                  <c:v/>
                </c:pt>
                <c:pt idx="2">
                  <c:v/>
                </c:pt>
                <c:pt idx="3">
                  <c:v/>
                </c:pt>
                <c:pt idx="4">
                  <c:v/>
                </c:pt>
                <c:pt idx="5">
                  <c:v/>
                </c:pt>
                <c:pt idx="6">
                  <c:v/>
                </c:pt>
                <c:pt idx="7">
                  <c:v>0.0012318220897836638</c:v>
                </c:pt>
                <c:pt idx="8">
                  <c:v>0.00926376721896177</c:v>
                </c:pt>
                <c:pt idx="9">
                  <c:v/>
                </c:pt>
                <c:pt idx="10">
                  <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0.00582909441113341</c:v>
                </c:pt>
                <c:pt idx="1">
                  <c:v>0.00046589041991429523</c:v>
                </c:pt>
                <c:pt idx="2">
                  <c:v>0.0006806029313325278</c:v>
                </c:pt>
                <c:pt idx="3">
                  <c:v>0.0020350292108436557</c:v>
                </c:pt>
                <c:pt idx="4">
                  <c:v>0.008380404994777034</c:v>
                </c:pt>
                <c:pt idx="5">
                  <c:v>0.005258207228793761</c:v>
                </c:pt>
                <c:pt idx="6">
                  <c:v>0.016707206930224885</c:v>
                </c:pt>
                <c:pt idx="7">
                  <c:v>0.02003460760947631</c:v>
                </c:pt>
                <c:pt idx="8">
                  <c:v>0.012158715446567272</c:v>
                </c:pt>
                <c:pt idx="9">
                  <c:v>0.004027064129008179</c:v>
                </c:pt>
                <c:pt idx="10">
                  <c:v>0.0011347936805216176</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2.49 €</c:v>
                </c:pt>
                <c:pt idx="8">
                  <c:v>2.5-2.99 €</c:v>
                </c:pt>
                <c:pt idx="9">
                  <c:v>1.5-1.99 €</c:v>
                </c:pt>
                <c:pt idx="10">
                  <c:v>0-1.49 €</c:v>
                </c:pt>
              </c:strCache>
            </c:strRef>
          </c:cat>
          <c:val>
            <c:numRef>
              <c:f>Sheet1!$B$2:$B$12</c:f>
              <c:numCache>
                <c:formatCode>General</c:formatCode>
                <c:ptCount val="11"/>
                <c:pt idx="0">
                  <c:v>8.765991781950135e-07</c:v>
                </c:pt>
                <c:pt idx="1">
                  <c:v/>
                </c:pt>
                <c:pt idx="2">
                  <c:v/>
                </c:pt>
                <c:pt idx="3">
                  <c:v/>
                </c:pt>
                <c:pt idx="4">
                  <c:v/>
                </c:pt>
                <c:pt idx="5">
                  <c:v/>
                </c:pt>
                <c:pt idx="6">
                  <c:v/>
                </c:pt>
                <c:pt idx="7">
                  <c:v/>
                </c:pt>
                <c:pt idx="8">
                  <c:v/>
                </c:pt>
                <c:pt idx="9">
                  <c:v/>
                </c:pt>
                <c:pt idx="10">
                  <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
                </c:pt>
                <c:pt idx="1">
                  <c:v/>
                </c:pt>
                <c:pt idx="2">
                  <c:v/>
                </c:pt>
                <c:pt idx="3">
                  <c:v/>
                </c:pt>
                <c:pt idx="4">
                  <c:v>5.008646551758464e-07</c:v>
                </c:pt>
                <c:pt idx="5">
                  <c:v/>
                </c:pt>
                <c:pt idx="6">
                  <c:v/>
                </c:pt>
                <c:pt idx="7">
                  <c:v>0.00415582430339055</c:v>
                </c:pt>
                <c:pt idx="8">
                  <c:v>0.011988295694564919</c:v>
                </c:pt>
                <c:pt idx="9">
                  <c:v/>
                </c:pt>
                <c:pt idx="10">
                  <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
                </c:pt>
                <c:pt idx="1">
                  <c:v/>
                </c:pt>
                <c:pt idx="2">
                  <c:v/>
                </c:pt>
                <c:pt idx="3">
                  <c:v/>
                </c:pt>
                <c:pt idx="4">
                  <c:v/>
                </c:pt>
                <c:pt idx="5">
                  <c:v/>
                </c:pt>
                <c:pt idx="6">
                  <c:v/>
                </c:pt>
                <c:pt idx="7">
                  <c:v/>
                </c:pt>
                <c:pt idx="8">
                  <c:v/>
                </c:pt>
                <c:pt idx="9">
                  <c:v/>
                </c:pt>
                <c:pt idx="10">
                  <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
                </c:pt>
                <c:pt idx="1">
                  <c:v/>
                </c:pt>
                <c:pt idx="2">
                  <c:v>0.011988295694564919</c:v>
                </c:pt>
                <c:pt idx="3">
                  <c:v>0.00415582430339055</c:v>
                </c:pt>
                <c:pt idx="4">
                  <c:v/>
                </c:pt>
                <c:pt idx="5">
                  <c:v/>
                </c:pt>
                <c:pt idx="6">
                  <c:v/>
                </c:pt>
                <c:pt idx="7">
                  <c:v>5.008646551758464e-07</c:v>
                </c:pt>
                <c:pt idx="8">
                  <c:v/>
                </c:pt>
                <c:pt idx="9">
                  <c:v/>
                </c:pt>
                <c:pt idx="10">
                  <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0.0013820749780182892</c:v>
                </c:pt>
                <c:pt idx="1">
                  <c:v>0.000105581416291328</c:v>
                </c:pt>
                <c:pt idx="2">
                  <c:v>0.00016108074060959914</c:v>
                </c:pt>
                <c:pt idx="3">
                  <c:v>0.000507040464211404</c:v>
                </c:pt>
                <c:pt idx="4">
                  <c:v>0.0019637434742806274</c:v>
                </c:pt>
                <c:pt idx="5">
                  <c:v>0.0012100492434937431</c:v>
                </c:pt>
                <c:pt idx="6">
                  <c:v>0.003893627295887939</c:v>
                </c:pt>
                <c:pt idx="7">
                  <c:v>0.004799968237281767</c:v>
                </c:pt>
                <c:pt idx="8">
                  <c:v>0.0028677249418169446</c:v>
                </c:pt>
                <c:pt idx="9">
                  <c:v>0.0009048494470347405</c:v>
                </c:pt>
                <c:pt idx="10">
                  <c:v>0.000313986219636298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2.49 €</c:v>
                </c:pt>
                <c:pt idx="8">
                  <c:v>2.5-2.99 €</c:v>
                </c:pt>
                <c:pt idx="9">
                  <c:v>1.5-1.99 €</c:v>
                </c:pt>
                <c:pt idx="10">
                  <c:v>0-1.49 €</c:v>
                </c:pt>
              </c:strCache>
            </c:strRef>
          </c:cat>
          <c:val>
            <c:numRef>
              <c:f>Sheet1!$B$2:$B$12</c:f>
              <c:numCache>
                <c:formatCode>General</c:formatCode>
                <c:ptCount val="11"/>
                <c:pt idx="0">
                  <c:v/>
                </c:pt>
                <c:pt idx="1">
                  <c:v/>
                </c:pt>
                <c:pt idx="2">
                  <c:v/>
                </c:pt>
                <c:pt idx="3">
                  <c:v/>
                </c:pt>
                <c:pt idx="4">
                  <c:v/>
                </c:pt>
                <c:pt idx="5">
                  <c:v/>
                </c:pt>
                <c:pt idx="6">
                  <c:v/>
                </c:pt>
                <c:pt idx="7">
                  <c:v/>
                </c:pt>
                <c:pt idx="8">
                  <c:v/>
                </c:pt>
                <c:pt idx="9">
                  <c:v/>
                </c:pt>
                <c:pt idx="10">
                  <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
                </c:pt>
                <c:pt idx="1">
                  <c:v/>
                </c:pt>
                <c:pt idx="2">
                  <c:v/>
                </c:pt>
                <c:pt idx="3">
                  <c:v/>
                </c:pt>
                <c:pt idx="4">
                  <c:v/>
                </c:pt>
                <c:pt idx="5">
                  <c:v/>
                </c:pt>
                <c:pt idx="6">
                  <c:v/>
                </c:pt>
                <c:pt idx="7">
                  <c:v>0.0012318220897836638</c:v>
                </c:pt>
                <c:pt idx="8">
                  <c:v>0.00926376721896177</c:v>
                </c:pt>
                <c:pt idx="9">
                  <c:v/>
                </c:pt>
                <c:pt idx="10">
                  <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0.00582909441113341</c:v>
                </c:pt>
                <c:pt idx="1">
                  <c:v>0.00046589041991429523</c:v>
                </c:pt>
                <c:pt idx="2">
                  <c:v>0.0006806029313325278</c:v>
                </c:pt>
                <c:pt idx="3">
                  <c:v>0.0020350292108436557</c:v>
                </c:pt>
                <c:pt idx="4">
                  <c:v>0.008380404994777034</c:v>
                </c:pt>
                <c:pt idx="5">
                  <c:v>0.005258207228793761</c:v>
                </c:pt>
                <c:pt idx="6">
                  <c:v>0.016707206930224885</c:v>
                </c:pt>
                <c:pt idx="7">
                  <c:v>0.02003460760947631</c:v>
                </c:pt>
                <c:pt idx="8">
                  <c:v>0.012158715446567272</c:v>
                </c:pt>
                <c:pt idx="9">
                  <c:v>0.004027064129008179</c:v>
                </c:pt>
                <c:pt idx="10">
                  <c:v>0.0011347936805216176</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
                </c:pt>
                <c:pt idx="1">
                  <c:v/>
                </c:pt>
                <c:pt idx="2">
                  <c:v/>
                </c:pt>
                <c:pt idx="3">
                  <c:v/>
                </c:pt>
                <c:pt idx="4">
                  <c:v/>
                </c:pt>
                <c:pt idx="5">
                  <c:v/>
                </c:pt>
                <c:pt idx="6">
                  <c:v>0.0003696201288559587</c:v>
                </c:pt>
                <c:pt idx="7">
                  <c:v>0.0019024634580469674</c:v>
                </c:pt>
                <c:pt idx="8">
                  <c:v>0.011687173337250879</c:v>
                </c:pt>
                <c:pt idx="9">
                  <c:v/>
                </c:pt>
                <c:pt idx="10">
                  <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0.075987114333625</c:v>
                </c:pt>
                <c:pt idx="1">
                  <c:v>0.006073270753232594</c:v>
                </c:pt>
                <c:pt idx="2">
                  <c:v>0.008872227675741015</c:v>
                </c:pt>
                <c:pt idx="3">
                  <c:v>0.026528305498242234</c:v>
                </c:pt>
                <c:pt idx="4">
                  <c:v>0.10924557874443219</c:v>
                </c:pt>
                <c:pt idx="5">
                  <c:v>0.06854512308483184</c:v>
                </c:pt>
                <c:pt idx="6">
                  <c:v>0.21779239683916565</c:v>
                </c:pt>
                <c:pt idx="7">
                  <c:v>0.26116784386660485</c:v>
                </c:pt>
                <c:pt idx="8">
                  <c:v>0.1584990112741501</c:v>
                </c:pt>
                <c:pt idx="9">
                  <c:v>0.05249614448092028</c:v>
                </c:pt>
                <c:pt idx="10">
                  <c:v>0.014792983449054269</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
                </c:pt>
                <c:pt idx="1">
                  <c:v/>
                </c:pt>
                <c:pt idx="2">
                  <c:v>0.011687173337250879</c:v>
                </c:pt>
                <c:pt idx="3">
                  <c:v>0.0019024634580469674</c:v>
                </c:pt>
                <c:pt idx="4">
                  <c:v/>
                </c:pt>
                <c:pt idx="5">
                  <c:v>0.0003696201288559587</c:v>
                </c:pt>
                <c:pt idx="6">
                  <c:v/>
                </c:pt>
                <c:pt idx="7">
                  <c:v/>
                </c:pt>
                <c:pt idx="8">
                  <c:v/>
                </c:pt>
                <c:pt idx="9">
                  <c:v/>
                </c:pt>
                <c:pt idx="10">
                  <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2.49 €</c:v>
                </c:pt>
                <c:pt idx="8">
                  <c:v>2.5-2.99 €</c:v>
                </c:pt>
                <c:pt idx="9">
                  <c:v>1.5-1.99 €</c:v>
                </c:pt>
                <c:pt idx="10">
                  <c:v>0-1.49 €</c:v>
                </c:pt>
              </c:strCache>
            </c:strRef>
          </c:cat>
          <c:val>
            <c:numRef>
              <c:f>Sheet1!$B$2:$B$12</c:f>
              <c:numCache>
                <c:formatCode>General</c:formatCode>
                <c:ptCount val="11"/>
                <c:pt idx="0">
                  <c:v/>
                </c:pt>
                <c:pt idx="1">
                  <c:v/>
                </c:pt>
                <c:pt idx="2">
                  <c:v/>
                </c:pt>
                <c:pt idx="3">
                  <c:v/>
                </c:pt>
                <c:pt idx="4">
                  <c:v/>
                </c:pt>
                <c:pt idx="5">
                  <c:v/>
                </c:pt>
                <c:pt idx="6">
                  <c:v/>
                </c:pt>
                <c:pt idx="7">
                  <c:v/>
                </c:pt>
                <c:pt idx="8">
                  <c:v/>
                </c:pt>
                <c:pt idx="9">
                  <c:v/>
                </c:pt>
                <c:pt idx="10">
                  <c:v>8.765991781950135e-07</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0.0013820749780182892</c:v>
                </c:pt>
                <c:pt idx="1">
                  <c:v>0.000105581416291328</c:v>
                </c:pt>
                <c:pt idx="2">
                  <c:v>0.00016108074060959914</c:v>
                </c:pt>
                <c:pt idx="3">
                  <c:v>0.000507040464211404</c:v>
                </c:pt>
                <c:pt idx="4">
                  <c:v>0.0019637434742806274</c:v>
                </c:pt>
                <c:pt idx="5">
                  <c:v>0.0012100492434937431</c:v>
                </c:pt>
                <c:pt idx="6">
                  <c:v>0.003893627295887939</c:v>
                </c:pt>
                <c:pt idx="7">
                  <c:v>0.004799968237281767</c:v>
                </c:pt>
                <c:pt idx="8">
                  <c:v>0.0028677249418169446</c:v>
                </c:pt>
                <c:pt idx="9">
                  <c:v>0.0009048494470347405</c:v>
                </c:pt>
                <c:pt idx="10">
                  <c:v>0.000313986219636298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
                </c:pt>
                <c:pt idx="1">
                  <c:v/>
                </c:pt>
                <c:pt idx="2">
                  <c:v/>
                </c:pt>
                <c:pt idx="3">
                  <c:v/>
                </c:pt>
                <c:pt idx="4">
                  <c:v>5.927942379679679e-05</c:v>
                </c:pt>
                <c:pt idx="5">
                  <c:v>0.0052079563115113294</c:v>
                </c:pt>
                <c:pt idx="6">
                  <c:v>4.94000616405881e-06</c:v>
                </c:pt>
                <c:pt idx="7">
                  <c:v>0.0038935850347138583</c:v>
                </c:pt>
                <c:pt idx="8">
                  <c:v>0.007047044276208316</c:v>
                </c:pt>
                <c:pt idx="9">
                  <c:v>0.0006920137221304047</c:v>
                </c:pt>
                <c:pt idx="10">
                  <c:v>4.275920576276542e-05</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0.00582909441113341</c:v>
                </c:pt>
                <c:pt idx="1">
                  <c:v>0.00046589041991429523</c:v>
                </c:pt>
                <c:pt idx="2">
                  <c:v>0.0006806029313325278</c:v>
                </c:pt>
                <c:pt idx="3">
                  <c:v>0.0020350292108436557</c:v>
                </c:pt>
                <c:pt idx="4">
                  <c:v>0.008380404994777034</c:v>
                </c:pt>
                <c:pt idx="5">
                  <c:v>0.005258207228793761</c:v>
                </c:pt>
                <c:pt idx="6">
                  <c:v>0.016707206930224885</c:v>
                </c:pt>
                <c:pt idx="7">
                  <c:v>0.02003460760947631</c:v>
                </c:pt>
                <c:pt idx="8">
                  <c:v>0.012158715446567272</c:v>
                </c:pt>
                <c:pt idx="9">
                  <c:v>0.004027064129008179</c:v>
                </c:pt>
                <c:pt idx="10">
                  <c:v>0.0011347936805216176</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
                </c:pt>
                <c:pt idx="1">
                  <c:v/>
                </c:pt>
                <c:pt idx="2">
                  <c:v/>
                </c:pt>
                <c:pt idx="3">
                  <c:v/>
                </c:pt>
                <c:pt idx="4">
                  <c:v>8.623302236972275e-05</c:v>
                </c:pt>
                <c:pt idx="5">
                  <c:v>0.003664298652854376</c:v>
                </c:pt>
                <c:pt idx="6">
                  <c:v>0.003089423275313602</c:v>
                </c:pt>
                <c:pt idx="7">
                  <c:v>0.006460184788650986</c:v>
                </c:pt>
                <c:pt idx="8">
                  <c:v>0.008665698137942348</c:v>
                </c:pt>
                <c:pt idx="9">
                  <c:v>0.001088078530865876</c:v>
                </c:pt>
                <c:pt idx="10">
                  <c:v>9.276569711450426e-05</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
                </c:pt>
                <c:pt idx="1">
                  <c:v/>
                </c:pt>
                <c:pt idx="2">
                  <c:v/>
                </c:pt>
                <c:pt idx="3">
                  <c:v/>
                </c:pt>
                <c:pt idx="4">
                  <c:v/>
                </c:pt>
                <c:pt idx="5">
                  <c:v/>
                </c:pt>
                <c:pt idx="6">
                  <c:v/>
                </c:pt>
                <c:pt idx="7">
                  <c:v/>
                </c:pt>
                <c:pt idx="8">
                  <c:v/>
                </c:pt>
                <c:pt idx="9">
                  <c:v/>
                </c:pt>
                <c:pt idx="10">
                  <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9.276569711450426e-05</c:v>
                </c:pt>
                <c:pt idx="1">
                  <c:v>0.001088078530865876</c:v>
                </c:pt>
                <c:pt idx="2">
                  <c:v>0.008665698137942348</c:v>
                </c:pt>
                <c:pt idx="3">
                  <c:v>0.006460184788650986</c:v>
                </c:pt>
                <c:pt idx="4">
                  <c:v>0.003664298652854376</c:v>
                </c:pt>
                <c:pt idx="5">
                  <c:v>0.003089423275313602</c:v>
                </c:pt>
                <c:pt idx="6">
                  <c:v/>
                </c:pt>
                <c:pt idx="7">
                  <c:v>8.623302236972275e-05</c:v>
                </c:pt>
                <c:pt idx="8">
                  <c:v/>
                </c:pt>
                <c:pt idx="9">
                  <c:v/>
                </c:pt>
                <c:pt idx="10">
                  <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0.0013820749780182892</c:v>
                </c:pt>
                <c:pt idx="1">
                  <c:v>0.000105581416291328</c:v>
                </c:pt>
                <c:pt idx="2">
                  <c:v>0.00016108074060959914</c:v>
                </c:pt>
                <c:pt idx="3">
                  <c:v>0.000507040464211404</c:v>
                </c:pt>
                <c:pt idx="4">
                  <c:v>0.0019637434742806274</c:v>
                </c:pt>
                <c:pt idx="5">
                  <c:v>0.0012100492434937431</c:v>
                </c:pt>
                <c:pt idx="6">
                  <c:v>0.003893627295887939</c:v>
                </c:pt>
                <c:pt idx="7">
                  <c:v>0.004799968237281767</c:v>
                </c:pt>
                <c:pt idx="8">
                  <c:v>0.0028677249418169446</c:v>
                </c:pt>
                <c:pt idx="9">
                  <c:v>0.0009048494470347405</c:v>
                </c:pt>
                <c:pt idx="10">
                  <c:v>0.000313986219636298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1.690446963220967e-08</c:v>
                </c:pt>
                <c:pt idx="1">
                  <c:v/>
                </c:pt>
                <c:pt idx="2">
                  <c:v>2.2756016812589938e-08</c:v>
                </c:pt>
                <c:pt idx="3">
                  <c:v>0.006256983980039187</c:v>
                </c:pt>
                <c:pt idx="4">
                  <c:v>0.003485368750144261</c:v>
                </c:pt>
                <c:pt idx="5">
                  <c:v>0.0036785679830550586</c:v>
                </c:pt>
                <c:pt idx="6">
                  <c:v>0.0020019274203202445</c:v>
                </c:pt>
                <c:pt idx="7">
                  <c:v>0.006249266439480174</c:v>
                </c:pt>
                <c:pt idx="8">
                  <c:v>0.0015833090353796577</c:v>
                </c:pt>
                <c:pt idx="9">
                  <c:v>1.170894590794092e-05</c:v>
                </c:pt>
                <c:pt idx="10">
                  <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0.00582909441113341</c:v>
                </c:pt>
                <c:pt idx="1">
                  <c:v>0.00046589041991429523</c:v>
                </c:pt>
                <c:pt idx="2">
                  <c:v>0.0006806029313325278</c:v>
                </c:pt>
                <c:pt idx="3">
                  <c:v>0.0020350292108436557</c:v>
                </c:pt>
                <c:pt idx="4">
                  <c:v>0.008380404994777034</c:v>
                </c:pt>
                <c:pt idx="5">
                  <c:v>0.005258207228793761</c:v>
                </c:pt>
                <c:pt idx="6">
                  <c:v>0.016707206930224885</c:v>
                </c:pt>
                <c:pt idx="7">
                  <c:v>0.02003460760947631</c:v>
                </c:pt>
                <c:pt idx="8">
                  <c:v>0.012158715446567272</c:v>
                </c:pt>
                <c:pt idx="9">
                  <c:v>0.004027064129008179</c:v>
                </c:pt>
                <c:pt idx="10">
                  <c:v>0.0011347936805216176</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7.248995613053693e-07</c:v>
                </c:pt>
                <c:pt idx="1">
                  <c:v>2.080333060550912e-06</c:v>
                </c:pt>
                <c:pt idx="2">
                  <c:v>3.229877926999663e-06</c:v>
                </c:pt>
                <c:pt idx="3">
                  <c:v>0.006981271760873598</c:v>
                </c:pt>
                <c:pt idx="4">
                  <c:v>0.007599096365085087</c:v>
                </c:pt>
                <c:pt idx="5">
                  <c:v>0.003592422073275713</c:v>
                </c:pt>
                <c:pt idx="6">
                  <c:v>0.0032777212980458176</c:v>
                </c:pt>
                <c:pt idx="7">
                  <c:v>0.004155694768489085</c:v>
                </c:pt>
                <c:pt idx="8">
                  <c:v>0.0018617436727184685</c:v>
                </c:pt>
                <c:pt idx="9">
                  <c:v>0.0014410703024494579</c:v>
                </c:pt>
                <c:pt idx="10">
                  <c:v>1.2868039549799455e-08</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
                </c:pt>
                <c:pt idx="1">
                  <c:v/>
                </c:pt>
                <c:pt idx="2">
                  <c:v/>
                </c:pt>
                <c:pt idx="3">
                  <c:v/>
                </c:pt>
                <c:pt idx="4">
                  <c:v/>
                </c:pt>
                <c:pt idx="5">
                  <c:v/>
                </c:pt>
                <c:pt idx="6">
                  <c:v/>
                </c:pt>
                <c:pt idx="7">
                  <c:v/>
                </c:pt>
                <c:pt idx="8">
                  <c:v/>
                </c:pt>
                <c:pt idx="9">
                  <c:v/>
                </c:pt>
                <c:pt idx="10">
                  <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1.2868039549799455e-08</c:v>
                </c:pt>
                <c:pt idx="1">
                  <c:v>0.0014410703024494579</c:v>
                </c:pt>
                <c:pt idx="2">
                  <c:v>0.0018617436727184685</c:v>
                </c:pt>
                <c:pt idx="3">
                  <c:v>0.004155694768489085</c:v>
                </c:pt>
                <c:pt idx="4">
                  <c:v>0.003592422073275713</c:v>
                </c:pt>
                <c:pt idx="5">
                  <c:v>0.0032777212980458176</c:v>
                </c:pt>
                <c:pt idx="6">
                  <c:v>0.006981271760873598</c:v>
                </c:pt>
                <c:pt idx="7">
                  <c:v>0.007599096365085087</c:v>
                </c:pt>
                <c:pt idx="8">
                  <c:v>2.080333060550912e-06</c:v>
                </c:pt>
                <c:pt idx="9">
                  <c:v>3.229877926999663e-06</c:v>
                </c:pt>
                <c:pt idx="10">
                  <c:v>7.248995613053693e-07</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
                </c:pt>
                <c:pt idx="1">
                  <c:v/>
                </c:pt>
                <c:pt idx="2">
                  <c:v/>
                </c:pt>
                <c:pt idx="3">
                  <c:v/>
                </c:pt>
                <c:pt idx="4">
                  <c:v>0.0005217049306835106</c:v>
                </c:pt>
                <c:pt idx="5">
                  <c:v>0.01825942080516005</c:v>
                </c:pt>
                <c:pt idx="6">
                  <c:v/>
                </c:pt>
                <c:pt idx="7">
                  <c:v>0.030104786330746026</c:v>
                </c:pt>
                <c:pt idx="8">
                  <c:v>0.037905927276970515</c:v>
                </c:pt>
                <c:pt idx="9">
                  <c:v>0.00609025776251876</c:v>
                </c:pt>
                <c:pt idx="10">
                  <c:v>0.00037631419217254463</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0.0013820749780182892</c:v>
                </c:pt>
                <c:pt idx="1">
                  <c:v>0.000105581416291328</c:v>
                </c:pt>
                <c:pt idx="2">
                  <c:v>0.00016108074060959914</c:v>
                </c:pt>
                <c:pt idx="3">
                  <c:v>0.000507040464211404</c:v>
                </c:pt>
                <c:pt idx="4">
                  <c:v>0.0019637434742806274</c:v>
                </c:pt>
                <c:pt idx="5">
                  <c:v>0.0012100492434937431</c:v>
                </c:pt>
                <c:pt idx="6">
                  <c:v>0.003893627295887939</c:v>
                </c:pt>
                <c:pt idx="7">
                  <c:v>0.004799968237281767</c:v>
                </c:pt>
                <c:pt idx="8">
                  <c:v>0.0028677249418169446</c:v>
                </c:pt>
                <c:pt idx="9">
                  <c:v>0.0009048494470347405</c:v>
                </c:pt>
                <c:pt idx="10">
                  <c:v>0.000313986219636298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
                </c:pt>
                <c:pt idx="1">
                  <c:v/>
                </c:pt>
                <c:pt idx="2">
                  <c:v>0.003056035532144489</c:v>
                </c:pt>
                <c:pt idx="3">
                  <c:v>0.0006088781906511064</c:v>
                </c:pt>
                <c:pt idx="4">
                  <c:v>0.0008839626744603276</c:v>
                </c:pt>
                <c:pt idx="5">
                  <c:v>0.002358141655269711</c:v>
                </c:pt>
                <c:pt idx="6">
                  <c:v>0.00026222408345056317</c:v>
                </c:pt>
                <c:pt idx="7">
                  <c:v>0.005735272386702752</c:v>
                </c:pt>
                <c:pt idx="8">
                  <c:v>0.006141319047612246</c:v>
                </c:pt>
                <c:pt idx="9">
                  <c:v/>
                </c:pt>
                <c:pt idx="10">
                  <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0.00582909441113341</c:v>
                </c:pt>
                <c:pt idx="1">
                  <c:v>0.00046589041991429523</c:v>
                </c:pt>
                <c:pt idx="2">
                  <c:v>0.0006806029313325278</c:v>
                </c:pt>
                <c:pt idx="3">
                  <c:v>0.0020350292108436557</c:v>
                </c:pt>
                <c:pt idx="4">
                  <c:v>0.008380404994777034</c:v>
                </c:pt>
                <c:pt idx="5">
                  <c:v>0.005258207228793761</c:v>
                </c:pt>
                <c:pt idx="6">
                  <c:v>0.016707206930224885</c:v>
                </c:pt>
                <c:pt idx="7">
                  <c:v>0.02003460760947631</c:v>
                </c:pt>
                <c:pt idx="8">
                  <c:v>0.012158715446567272</c:v>
                </c:pt>
                <c:pt idx="9">
                  <c:v>0.004027064129008179</c:v>
                </c:pt>
                <c:pt idx="10">
                  <c:v>0.0011347936805216176</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2.0159928628019147e-07</c:v>
                </c:pt>
                <c:pt idx="1">
                  <c:v>2.316247118963902e-07</c:v>
                </c:pt>
                <c:pt idx="2">
                  <c:v>0.0028805964401529397</c:v>
                </c:pt>
                <c:pt idx="3">
                  <c:v>0.003305048724703075</c:v>
                </c:pt>
                <c:pt idx="4">
                  <c:v>0.0017550118633459153</c:v>
                </c:pt>
                <c:pt idx="5">
                  <c:v>0.0021578329734128375</c:v>
                </c:pt>
                <c:pt idx="6">
                  <c:v>0.0023843362055684073</c:v>
                </c:pt>
                <c:pt idx="7">
                  <c:v>0.0057335995141645935</c:v>
                </c:pt>
                <c:pt idx="8">
                  <c:v>0.006797250216618433</c:v>
                </c:pt>
                <c:pt idx="9">
                  <c:v/>
                </c:pt>
                <c:pt idx="10">
                  <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
                </c:pt>
                <c:pt idx="1">
                  <c:v/>
                </c:pt>
                <c:pt idx="2">
                  <c:v/>
                </c:pt>
                <c:pt idx="3">
                  <c:v/>
                </c:pt>
                <c:pt idx="4">
                  <c:v/>
                </c:pt>
                <c:pt idx="5">
                  <c:v/>
                </c:pt>
                <c:pt idx="6">
                  <c:v/>
                </c:pt>
                <c:pt idx="7">
                  <c:v/>
                </c:pt>
                <c:pt idx="8">
                  <c:v/>
                </c:pt>
                <c:pt idx="9">
                  <c:v/>
                </c:pt>
                <c:pt idx="10">
                  <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
                </c:pt>
                <c:pt idx="1">
                  <c:v/>
                </c:pt>
                <c:pt idx="2">
                  <c:v>0.006797250216618433</c:v>
                </c:pt>
                <c:pt idx="3">
                  <c:v>0.0057335995141645935</c:v>
                </c:pt>
                <c:pt idx="4">
                  <c:v>0.0021578329734128375</c:v>
                </c:pt>
                <c:pt idx="5">
                  <c:v>0.0023843362055684073</c:v>
                </c:pt>
                <c:pt idx="6">
                  <c:v>0.003305048724703075</c:v>
                </c:pt>
                <c:pt idx="7">
                  <c:v>0.0017550118633459153</c:v>
                </c:pt>
                <c:pt idx="8">
                  <c:v>2.316247118963902e-07</c:v>
                </c:pt>
                <c:pt idx="9">
                  <c:v>0.0028805964401529397</c:v>
                </c:pt>
                <c:pt idx="10">
                  <c:v>2.0159928628019147e-07</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0.0013820749780182892</c:v>
                </c:pt>
                <c:pt idx="1">
                  <c:v>0.000105581416291328</c:v>
                </c:pt>
                <c:pt idx="2">
                  <c:v>0.00016108074060959914</c:v>
                </c:pt>
                <c:pt idx="3">
                  <c:v>0.000507040464211404</c:v>
                </c:pt>
                <c:pt idx="4">
                  <c:v>0.0019637434742806274</c:v>
                </c:pt>
                <c:pt idx="5">
                  <c:v>0.0012100492434937431</c:v>
                </c:pt>
                <c:pt idx="6">
                  <c:v>0.003893627295887939</c:v>
                </c:pt>
                <c:pt idx="7">
                  <c:v>0.004799968237281767</c:v>
                </c:pt>
                <c:pt idx="8">
                  <c:v>0.0028677249418169446</c:v>
                </c:pt>
                <c:pt idx="9">
                  <c:v>0.0009048494470347405</c:v>
                </c:pt>
                <c:pt idx="10">
                  <c:v>0.000313986219636298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
                </c:pt>
                <c:pt idx="1">
                  <c:v/>
                </c:pt>
                <c:pt idx="2">
                  <c:v/>
                </c:pt>
                <c:pt idx="3">
                  <c:v/>
                </c:pt>
                <c:pt idx="4">
                  <c:v>5.927942379679679e-05</c:v>
                </c:pt>
                <c:pt idx="5">
                  <c:v>0.0052079563115113294</c:v>
                </c:pt>
                <c:pt idx="6">
                  <c:v>4.94000616405881e-06</c:v>
                </c:pt>
                <c:pt idx="7">
                  <c:v>0.0038935850347138583</c:v>
                </c:pt>
                <c:pt idx="8">
                  <c:v>0.007047044276208316</c:v>
                </c:pt>
                <c:pt idx="9">
                  <c:v>0.0006920137221304047</c:v>
                </c:pt>
                <c:pt idx="10">
                  <c:v>4.275920576276542e-05</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0.00582909441113341</c:v>
                </c:pt>
                <c:pt idx="1">
                  <c:v>0.00046589041991429523</c:v>
                </c:pt>
                <c:pt idx="2">
                  <c:v>0.0006806029313325278</c:v>
                </c:pt>
                <c:pt idx="3">
                  <c:v>0.0020350292108436557</c:v>
                </c:pt>
                <c:pt idx="4">
                  <c:v>0.008380404994777034</c:v>
                </c:pt>
                <c:pt idx="5">
                  <c:v>0.005258207228793761</c:v>
                </c:pt>
                <c:pt idx="6">
                  <c:v>0.016707206930224885</c:v>
                </c:pt>
                <c:pt idx="7">
                  <c:v>0.02003460760947631</c:v>
                </c:pt>
                <c:pt idx="8">
                  <c:v>0.012158715446567272</c:v>
                </c:pt>
                <c:pt idx="9">
                  <c:v>0.004027064129008179</c:v>
                </c:pt>
                <c:pt idx="10">
                  <c:v>0.0011347936805216176</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
                </c:pt>
                <c:pt idx="1">
                  <c:v/>
                </c:pt>
                <c:pt idx="2">
                  <c:v/>
                </c:pt>
                <c:pt idx="3">
                  <c:v/>
                </c:pt>
                <c:pt idx="4">
                  <c:v>2.692274122849832e-05</c:v>
                </c:pt>
                <c:pt idx="5">
                  <c:v>0.005202794260430797</c:v>
                </c:pt>
                <c:pt idx="6">
                  <c:v>0.0004883503717444341</c:v>
                </c:pt>
                <c:pt idx="7">
                  <c:v>0.0022802319402008037</c:v>
                </c:pt>
                <c:pt idx="8">
                  <c:v>0.006739216948338604</c:v>
                </c:pt>
                <c:pt idx="9">
                  <c:v>0.0006687352173028163</c:v>
                </c:pt>
                <c:pt idx="10">
                  <c:v>2.8650006014159673e-07</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0.075987114333625</c:v>
                </c:pt>
                <c:pt idx="1">
                  <c:v>0.006073270753232594</c:v>
                </c:pt>
                <c:pt idx="2">
                  <c:v>0.008872227675741015</c:v>
                </c:pt>
                <c:pt idx="3">
                  <c:v>0.026528305498242234</c:v>
                </c:pt>
                <c:pt idx="4">
                  <c:v>0.10924557874443219</c:v>
                </c:pt>
                <c:pt idx="5">
                  <c:v>0.06854512308483184</c:v>
                </c:pt>
                <c:pt idx="6">
                  <c:v>0.21779239683916565</c:v>
                </c:pt>
                <c:pt idx="7">
                  <c:v>0.26116784386660485</c:v>
                </c:pt>
                <c:pt idx="8">
                  <c:v>0.1584990112741501</c:v>
                </c:pt>
                <c:pt idx="9">
                  <c:v>0.05249614448092028</c:v>
                </c:pt>
                <c:pt idx="10">
                  <c:v>0.014792983449054269</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2.8650006014159673e-07</c:v>
                </c:pt>
                <c:pt idx="1">
                  <c:v>0.0006687352173028163</c:v>
                </c:pt>
                <c:pt idx="2">
                  <c:v>0.006739216948338604</c:v>
                </c:pt>
                <c:pt idx="3">
                  <c:v>0.0022802319402008037</c:v>
                </c:pt>
                <c:pt idx="4">
                  <c:v>0.005202794260430797</c:v>
                </c:pt>
                <c:pt idx="5">
                  <c:v>0.0004883503717444341</c:v>
                </c:pt>
                <c:pt idx="6">
                  <c:v/>
                </c:pt>
                <c:pt idx="7">
                  <c:v>2.692274122849832e-05</c:v>
                </c:pt>
                <c:pt idx="8">
                  <c:v/>
                </c:pt>
                <c:pt idx="9">
                  <c:v/>
                </c:pt>
                <c:pt idx="10">
                  <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0.0013820749780182892</c:v>
                </c:pt>
                <c:pt idx="1">
                  <c:v>0.000105581416291328</c:v>
                </c:pt>
                <c:pt idx="2">
                  <c:v>0.00016108074060959914</c:v>
                </c:pt>
                <c:pt idx="3">
                  <c:v>0.000507040464211404</c:v>
                </c:pt>
                <c:pt idx="4">
                  <c:v>0.0019637434742806274</c:v>
                </c:pt>
                <c:pt idx="5">
                  <c:v>0.0012100492434937431</c:v>
                </c:pt>
                <c:pt idx="6">
                  <c:v>0.003893627295887939</c:v>
                </c:pt>
                <c:pt idx="7">
                  <c:v>0.004799968237281767</c:v>
                </c:pt>
                <c:pt idx="8">
                  <c:v>0.0028677249418169446</c:v>
                </c:pt>
                <c:pt idx="9">
                  <c:v>0.0009048494470347405</c:v>
                </c:pt>
                <c:pt idx="10">
                  <c:v>0.000313986219636298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1.690446963220967e-08</c:v>
                </c:pt>
                <c:pt idx="1">
                  <c:v/>
                </c:pt>
                <c:pt idx="2">
                  <c:v>2.2756016812589938e-08</c:v>
                </c:pt>
                <c:pt idx="3">
                  <c:v>0.006256983980039187</c:v>
                </c:pt>
                <c:pt idx="4">
                  <c:v>0.003485368750144261</c:v>
                </c:pt>
                <c:pt idx="5">
                  <c:v>0.0036785679830550586</c:v>
                </c:pt>
                <c:pt idx="6">
                  <c:v>0.0020019274203202445</c:v>
                </c:pt>
                <c:pt idx="7">
                  <c:v>0.006249266439480174</c:v>
                </c:pt>
                <c:pt idx="8">
                  <c:v>0.0015833090353796577</c:v>
                </c:pt>
                <c:pt idx="9">
                  <c:v>1.170894590794092e-05</c:v>
                </c:pt>
                <c:pt idx="10">
                  <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0.00582909441113341</c:v>
                </c:pt>
                <c:pt idx="1">
                  <c:v>0.00046589041991429523</c:v>
                </c:pt>
                <c:pt idx="2">
                  <c:v>0.0006806029313325278</c:v>
                </c:pt>
                <c:pt idx="3">
                  <c:v>0.0020350292108436557</c:v>
                </c:pt>
                <c:pt idx="4">
                  <c:v>0.008380404994777034</c:v>
                </c:pt>
                <c:pt idx="5">
                  <c:v>0.005258207228793761</c:v>
                </c:pt>
                <c:pt idx="6">
                  <c:v>0.016707206930224885</c:v>
                </c:pt>
                <c:pt idx="7">
                  <c:v>0.02003460760947631</c:v>
                </c:pt>
                <c:pt idx="8">
                  <c:v>0.012158715446567272</c:v>
                </c:pt>
                <c:pt idx="9">
                  <c:v>0.004027064129008179</c:v>
                </c:pt>
                <c:pt idx="10">
                  <c:v>0.0011347936805216176</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
                </c:pt>
                <c:pt idx="1">
                  <c:v/>
                </c:pt>
                <c:pt idx="2">
                  <c:v>0.0005177359115668418</c:v>
                </c:pt>
                <c:pt idx="3">
                  <c:v>0.004219779496385732</c:v>
                </c:pt>
                <c:pt idx="4">
                  <c:v>0.004835302837133787</c:v>
                </c:pt>
                <c:pt idx="5">
                  <c:v>6.376003742285824e-05</c:v>
                </c:pt>
                <c:pt idx="6">
                  <c:v>0.0005331352897994527</c:v>
                </c:pt>
                <c:pt idx="7">
                  <c:v>0.005219166085982927</c:v>
                </c:pt>
                <c:pt idx="8">
                  <c:v>0.00019947291206531614</c:v>
                </c:pt>
                <c:pt idx="9">
                  <c:v/>
                </c:pt>
                <c:pt idx="10">
                  <c:v>1.29475988717837e-07</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0.075987114333625</c:v>
                </c:pt>
                <c:pt idx="1">
                  <c:v>0.006073270753232594</c:v>
                </c:pt>
                <c:pt idx="2">
                  <c:v>0.008872227675741015</c:v>
                </c:pt>
                <c:pt idx="3">
                  <c:v>0.026528305498242234</c:v>
                </c:pt>
                <c:pt idx="4">
                  <c:v>0.10924557874443219</c:v>
                </c:pt>
                <c:pt idx="5">
                  <c:v>0.06854512308483184</c:v>
                </c:pt>
                <c:pt idx="6">
                  <c:v>0.21779239683916565</c:v>
                </c:pt>
                <c:pt idx="7">
                  <c:v>0.26116784386660485</c:v>
                </c:pt>
                <c:pt idx="8">
                  <c:v>0.1584990112741501</c:v>
                </c:pt>
                <c:pt idx="9">
                  <c:v>0.05249614448092028</c:v>
                </c:pt>
                <c:pt idx="10">
                  <c:v>0.014792983449054269</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1.29475988717837e-07</c:v>
                </c:pt>
                <c:pt idx="1">
                  <c:v/>
                </c:pt>
                <c:pt idx="2">
                  <c:v>0.00019947291206531614</c:v>
                </c:pt>
                <c:pt idx="3">
                  <c:v>0.005219166085982927</c:v>
                </c:pt>
                <c:pt idx="4">
                  <c:v>6.376003742285824e-05</c:v>
                </c:pt>
                <c:pt idx="5">
                  <c:v>0.0005331352897994527</c:v>
                </c:pt>
                <c:pt idx="6">
                  <c:v>0.004219779496385732</c:v>
                </c:pt>
                <c:pt idx="7">
                  <c:v>0.004835302837133787</c:v>
                </c:pt>
                <c:pt idx="8">
                  <c:v/>
                </c:pt>
                <c:pt idx="9">
                  <c:v>0.0005177359115668418</c:v>
                </c:pt>
                <c:pt idx="10">
                  <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0.0013820749780182892</c:v>
                </c:pt>
                <c:pt idx="1">
                  <c:v>0.000105581416291328</c:v>
                </c:pt>
                <c:pt idx="2">
                  <c:v>0.00016108074060959914</c:v>
                </c:pt>
                <c:pt idx="3">
                  <c:v>0.000507040464211404</c:v>
                </c:pt>
                <c:pt idx="4">
                  <c:v>0.0019637434742806274</c:v>
                </c:pt>
                <c:pt idx="5">
                  <c:v>0.0012100492434937431</c:v>
                </c:pt>
                <c:pt idx="6">
                  <c:v>0.003893627295887939</c:v>
                </c:pt>
                <c:pt idx="7">
                  <c:v>0.004799968237281767</c:v>
                </c:pt>
                <c:pt idx="8">
                  <c:v>0.0028677249418169446</c:v>
                </c:pt>
                <c:pt idx="9">
                  <c:v>0.0009048494470347405</c:v>
                </c:pt>
                <c:pt idx="10">
                  <c:v>0.000313986219636298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
                </c:pt>
                <c:pt idx="1">
                  <c:v/>
                </c:pt>
                <c:pt idx="2">
                  <c:v>0.003056035532144489</c:v>
                </c:pt>
                <c:pt idx="3">
                  <c:v>0.0006088781906511064</c:v>
                </c:pt>
                <c:pt idx="4">
                  <c:v>0.0008839626744603276</c:v>
                </c:pt>
                <c:pt idx="5">
                  <c:v>0.002358141655269711</c:v>
                </c:pt>
                <c:pt idx="6">
                  <c:v>0.00026222408345056317</c:v>
                </c:pt>
                <c:pt idx="7">
                  <c:v>0.005735272386702752</c:v>
                </c:pt>
                <c:pt idx="8">
                  <c:v>0.006141319047612246</c:v>
                </c:pt>
                <c:pt idx="9">
                  <c:v/>
                </c:pt>
                <c:pt idx="10">
                  <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0.00582909441113341</c:v>
                </c:pt>
                <c:pt idx="1">
                  <c:v>0.00046589041991429523</c:v>
                </c:pt>
                <c:pt idx="2">
                  <c:v>0.0006806029313325278</c:v>
                </c:pt>
                <c:pt idx="3">
                  <c:v>0.0020350292108436557</c:v>
                </c:pt>
                <c:pt idx="4">
                  <c:v>0.008380404994777034</c:v>
                </c:pt>
                <c:pt idx="5">
                  <c:v>0.005258207228793761</c:v>
                </c:pt>
                <c:pt idx="6">
                  <c:v>0.016707206930224885</c:v>
                </c:pt>
                <c:pt idx="7">
                  <c:v>0.02003460760947631</c:v>
                </c:pt>
                <c:pt idx="8">
                  <c:v>0.012158715446567272</c:v>
                </c:pt>
                <c:pt idx="9">
                  <c:v>0.004027064129008179</c:v>
                </c:pt>
                <c:pt idx="10">
                  <c:v>0.0011347936805216176</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1.4462743420609452e-06</c:v>
                </c:pt>
                <c:pt idx="1">
                  <c:v>0.00209235126133814</c:v>
                </c:pt>
                <c:pt idx="2">
                  <c:v>0.0004305186817198904</c:v>
                </c:pt>
                <c:pt idx="3">
                  <c:v/>
                </c:pt>
                <c:pt idx="4">
                  <c:v>4.015408535215302e-05</c:v>
                </c:pt>
                <c:pt idx="5">
                  <c:v>0.0028101193110492283</c:v>
                </c:pt>
                <c:pt idx="6">
                  <c:v>0.00041326807232944154</c:v>
                </c:pt>
                <c:pt idx="7">
                  <c:v>0.0035370553626848478</c:v>
                </c:pt>
                <c:pt idx="8">
                  <c:v>0.0037522196626594575</c:v>
                </c:pt>
                <c:pt idx="9">
                  <c:v/>
                </c:pt>
                <c:pt idx="10">
                  <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0.075987114333625</c:v>
                </c:pt>
                <c:pt idx="1">
                  <c:v>0.006073270753232594</c:v>
                </c:pt>
                <c:pt idx="2">
                  <c:v>0.008872227675741015</c:v>
                </c:pt>
                <c:pt idx="3">
                  <c:v>0.026528305498242234</c:v>
                </c:pt>
                <c:pt idx="4">
                  <c:v>0.10924557874443219</c:v>
                </c:pt>
                <c:pt idx="5">
                  <c:v>0.06854512308483184</c:v>
                </c:pt>
                <c:pt idx="6">
                  <c:v>0.21779239683916565</c:v>
                </c:pt>
                <c:pt idx="7">
                  <c:v>0.26116784386660485</c:v>
                </c:pt>
                <c:pt idx="8">
                  <c:v>0.1584990112741501</c:v>
                </c:pt>
                <c:pt idx="9">
                  <c:v>0.05249614448092028</c:v>
                </c:pt>
                <c:pt idx="10">
                  <c:v>0.014792983449054269</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
                </c:pt>
                <c:pt idx="1">
                  <c:v/>
                </c:pt>
                <c:pt idx="2">
                  <c:v>0.0037522196626594575</c:v>
                </c:pt>
                <c:pt idx="3">
                  <c:v>0.0035370553626848478</c:v>
                </c:pt>
                <c:pt idx="4">
                  <c:v>0.0028101193110492283</c:v>
                </c:pt>
                <c:pt idx="5">
                  <c:v>0.00041326807232944154</c:v>
                </c:pt>
                <c:pt idx="6">
                  <c:v/>
                </c:pt>
                <c:pt idx="7">
                  <c:v>4.015408535215302e-05</c:v>
                </c:pt>
                <c:pt idx="8">
                  <c:v>0.00209235126133814</c:v>
                </c:pt>
                <c:pt idx="9">
                  <c:v>0.0004305186817198904</c:v>
                </c:pt>
                <c:pt idx="10">
                  <c:v>1.4462743420609452e-06</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1.5444833696659258e-05</c:v>
                </c:pt>
                <c:pt idx="1">
                  <c:v>0.0014288275396457098</c:v>
                </c:pt>
                <c:pt idx="2">
                  <c:v>0.0008711224294308466</c:v>
                </c:pt>
                <c:pt idx="3">
                  <c:v>0.00658809637792864</c:v>
                </c:pt>
                <c:pt idx="4">
                  <c:v>0.002724947190615666</c:v>
                </c:pt>
                <c:pt idx="5">
                  <c:v>0.0024211355111822316</c:v>
                </c:pt>
                <c:pt idx="6">
                  <c:v>0.020525051383394794</c:v>
                </c:pt>
                <c:pt idx="7">
                  <c:v>0.01640976032842305</c:v>
                </c:pt>
                <c:pt idx="8">
                  <c:v>0.034463408809668514</c:v>
                </c:pt>
                <c:pt idx="9">
                  <c:v>0.016358597650737352</c:v>
                </c:pt>
                <c:pt idx="10">
                  <c:v>0.01181995170846846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0.0013820749780182892</c:v>
                </c:pt>
                <c:pt idx="1">
                  <c:v>0.000105581416291328</c:v>
                </c:pt>
                <c:pt idx="2">
                  <c:v>0.00016108074060959914</c:v>
                </c:pt>
                <c:pt idx="3">
                  <c:v>0.000507040464211404</c:v>
                </c:pt>
                <c:pt idx="4">
                  <c:v>0.0019637434742806274</c:v>
                </c:pt>
                <c:pt idx="5">
                  <c:v>0.0012100492434937431</c:v>
                </c:pt>
                <c:pt idx="6">
                  <c:v>0.003893627295887939</c:v>
                </c:pt>
                <c:pt idx="7">
                  <c:v>0.004799968237281767</c:v>
                </c:pt>
                <c:pt idx="8">
                  <c:v>0.0028677249418169446</c:v>
                </c:pt>
                <c:pt idx="9">
                  <c:v>0.0009048494470347405</c:v>
                </c:pt>
                <c:pt idx="10">
                  <c:v>0.000313986219636298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
                </c:pt>
                <c:pt idx="1">
                  <c:v/>
                </c:pt>
                <c:pt idx="2">
                  <c:v/>
                </c:pt>
                <c:pt idx="3">
                  <c:v/>
                </c:pt>
                <c:pt idx="4">
                  <c:v>7.015560464634518e-05</c:v>
                </c:pt>
                <c:pt idx="5">
                  <c:v>0.00245541230633906</c:v>
                </c:pt>
                <c:pt idx="6">
                  <c:v/>
                </c:pt>
                <c:pt idx="7">
                  <c:v>0.004474388654481323</c:v>
                </c:pt>
                <c:pt idx="8">
                  <c:v>0.008301678324277485</c:v>
                </c:pt>
                <c:pt idx="9">
                  <c:v>0.000818979638972972</c:v>
                </c:pt>
                <c:pt idx="10">
                  <c:v>5.060437066269851e-05</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0.00582909441113341</c:v>
                </c:pt>
                <c:pt idx="1">
                  <c:v>0.00046589041991429523</c:v>
                </c:pt>
                <c:pt idx="2">
                  <c:v>0.0006806029313325278</c:v>
                </c:pt>
                <c:pt idx="3">
                  <c:v>0.0020350292108436557</c:v>
                </c:pt>
                <c:pt idx="4">
                  <c:v>0.008380404994777034</c:v>
                </c:pt>
                <c:pt idx="5">
                  <c:v>0.005258207228793761</c:v>
                </c:pt>
                <c:pt idx="6">
                  <c:v>0.016707206930224885</c:v>
                </c:pt>
                <c:pt idx="7">
                  <c:v>0.02003460760947631</c:v>
                </c:pt>
                <c:pt idx="8">
                  <c:v>0.012158715446567272</c:v>
                </c:pt>
                <c:pt idx="9">
                  <c:v>0.004027064129008179</c:v>
                </c:pt>
                <c:pt idx="10">
                  <c:v>0.0011347936805216176</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
                </c:pt>
                <c:pt idx="1">
                  <c:v/>
                </c:pt>
                <c:pt idx="2">
                  <c:v/>
                </c:pt>
                <c:pt idx="3">
                  <c:v/>
                </c:pt>
                <c:pt idx="4">
                  <c:v>3.830707670152959e-07</c:v>
                </c:pt>
                <c:pt idx="5">
                  <c:v>0.000279132401136781</c:v>
                </c:pt>
                <c:pt idx="6">
                  <c:v>0.0022620463993700407</c:v>
                </c:pt>
                <c:pt idx="7">
                  <c:v>0.006787563320020437</c:v>
                </c:pt>
                <c:pt idx="8">
                  <c:v>0.008922813295508415</c:v>
                </c:pt>
                <c:pt idx="9">
                  <c:v>0.0011432183702208248</c:v>
                </c:pt>
                <c:pt idx="10">
                  <c:v>9.746672327340947e-05</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
                </c:pt>
                <c:pt idx="1">
                  <c:v/>
                </c:pt>
                <c:pt idx="2">
                  <c:v/>
                </c:pt>
                <c:pt idx="3">
                  <c:v/>
                </c:pt>
                <c:pt idx="4">
                  <c:v/>
                </c:pt>
                <c:pt idx="5">
                  <c:v/>
                </c:pt>
                <c:pt idx="6">
                  <c:v/>
                </c:pt>
                <c:pt idx="7">
                  <c:v/>
                </c:pt>
                <c:pt idx="8">
                  <c:v/>
                </c:pt>
                <c:pt idx="9">
                  <c:v/>
                </c:pt>
                <c:pt idx="10">
                  <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9.746672327340947e-05</c:v>
                </c:pt>
                <c:pt idx="1">
                  <c:v>0.0011432183702208248</c:v>
                </c:pt>
                <c:pt idx="2">
                  <c:v>0.008922813295508415</c:v>
                </c:pt>
                <c:pt idx="3">
                  <c:v>0.006787563320020437</c:v>
                </c:pt>
                <c:pt idx="4">
                  <c:v>0.000279132401136781</c:v>
                </c:pt>
                <c:pt idx="5">
                  <c:v>0.0022620463993700407</c:v>
                </c:pt>
                <c:pt idx="6">
                  <c:v/>
                </c:pt>
                <c:pt idx="7">
                  <c:v>3.830707670152959e-07</c:v>
                </c:pt>
                <c:pt idx="8">
                  <c:v/>
                </c:pt>
                <c:pt idx="9">
                  <c:v/>
                </c:pt>
                <c:pt idx="10">
                  <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
                </c:pt>
                <c:pt idx="1">
                  <c:v/>
                </c:pt>
                <c:pt idx="2">
                  <c:v/>
                </c:pt>
                <c:pt idx="3">
                  <c:v/>
                </c:pt>
                <c:pt idx="4">
                  <c:v/>
                </c:pt>
                <c:pt idx="5">
                  <c:v/>
                </c:pt>
                <c:pt idx="6">
                  <c:v>0.0023066195746928655</c:v>
                </c:pt>
                <c:pt idx="7">
                  <c:v>0.00010804313135361719</c:v>
                </c:pt>
                <c:pt idx="8">
                  <c:v>0.004786084127078704</c:v>
                </c:pt>
                <c:pt idx="9">
                  <c:v/>
                </c:pt>
                <c:pt idx="10">
                  <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0.0013820749780182892</c:v>
                </c:pt>
                <c:pt idx="1">
                  <c:v>0.000105581416291328</c:v>
                </c:pt>
                <c:pt idx="2">
                  <c:v>0.00016108074060959914</c:v>
                </c:pt>
                <c:pt idx="3">
                  <c:v>0.000507040464211404</c:v>
                </c:pt>
                <c:pt idx="4">
                  <c:v>0.0019637434742806274</c:v>
                </c:pt>
                <c:pt idx="5">
                  <c:v>0.0012100492434937431</c:v>
                </c:pt>
                <c:pt idx="6">
                  <c:v>0.003893627295887939</c:v>
                </c:pt>
                <c:pt idx="7">
                  <c:v>0.004799968237281767</c:v>
                </c:pt>
                <c:pt idx="8">
                  <c:v>0.0028677249418169446</c:v>
                </c:pt>
                <c:pt idx="9">
                  <c:v>0.0009048494470347405</c:v>
                </c:pt>
                <c:pt idx="10">
                  <c:v>0.000313986219636298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2.0005985421496842e-08</c:v>
                </c:pt>
                <c:pt idx="1">
                  <c:v/>
                </c:pt>
                <c:pt idx="2">
                  <c:v>2.6931134221245748e-08</c:v>
                </c:pt>
                <c:pt idx="3">
                  <c:v>0.007404972354098087</c:v>
                </c:pt>
                <c:pt idx="4">
                  <c:v>0.004124840229892041</c:v>
                </c:pt>
                <c:pt idx="5">
                  <c:v>0.004353486328891395</c:v>
                </c:pt>
                <c:pt idx="6">
                  <c:v>0.0023692272906042297</c:v>
                </c:pt>
                <c:pt idx="7">
                  <c:v>0.007395838852292196</c:v>
                </c:pt>
                <c:pt idx="8">
                  <c:v>0.0018738036843921483</c:v>
                </c:pt>
                <c:pt idx="9">
                  <c:v>1.382105808234332e-05</c:v>
                </c:pt>
                <c:pt idx="10">
                  <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0.00582909441113341</c:v>
                </c:pt>
                <c:pt idx="1">
                  <c:v>0.00046589041991429523</c:v>
                </c:pt>
                <c:pt idx="2">
                  <c:v>0.0006806029313325278</c:v>
                </c:pt>
                <c:pt idx="3">
                  <c:v>0.0020350292108436557</c:v>
                </c:pt>
                <c:pt idx="4">
                  <c:v>0.008380404994777034</c:v>
                </c:pt>
                <c:pt idx="5">
                  <c:v>0.005258207228793761</c:v>
                </c:pt>
                <c:pt idx="6">
                  <c:v>0.016707206930224885</c:v>
                </c:pt>
                <c:pt idx="7">
                  <c:v>0.02003460760947631</c:v>
                </c:pt>
                <c:pt idx="8">
                  <c:v>0.012158715446567272</c:v>
                </c:pt>
                <c:pt idx="9">
                  <c:v>0.004027064129008179</c:v>
                </c:pt>
                <c:pt idx="10">
                  <c:v>0.0011347936805216176</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7.616348191245295e-07</c:v>
                </c:pt>
                <c:pt idx="1">
                  <c:v>2.185756729440218e-06</c:v>
                </c:pt>
                <c:pt idx="2">
                  <c:v>3.3935563242649154e-06</c:v>
                </c:pt>
                <c:pt idx="3">
                  <c:v>0.00733505707366851</c:v>
                </c:pt>
                <c:pt idx="4">
                  <c:v>0.007984190768593007</c:v>
                </c:pt>
                <c:pt idx="5">
                  <c:v>0.0037744728815551137</c:v>
                </c:pt>
                <c:pt idx="6">
                  <c:v>0.0034438242223271344</c:v>
                </c:pt>
                <c:pt idx="7">
                  <c:v>0.00436629017630431</c:v>
                </c:pt>
                <c:pt idx="8">
                  <c:v>0.0019560900311123767</c:v>
                </c:pt>
                <c:pt idx="9">
                  <c:v>0.0015140984734152224</c:v>
                </c:pt>
                <c:pt idx="10">
                  <c:v>1.3520144718186915e-08</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
                </c:pt>
                <c:pt idx="1">
                  <c:v/>
                </c:pt>
                <c:pt idx="2">
                  <c:v/>
                </c:pt>
                <c:pt idx="3">
                  <c:v/>
                </c:pt>
                <c:pt idx="4">
                  <c:v/>
                </c:pt>
                <c:pt idx="5">
                  <c:v/>
                </c:pt>
                <c:pt idx="6">
                  <c:v/>
                </c:pt>
                <c:pt idx="7">
                  <c:v/>
                </c:pt>
                <c:pt idx="8">
                  <c:v/>
                </c:pt>
                <c:pt idx="9">
                  <c:v/>
                </c:pt>
                <c:pt idx="10">
                  <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0.00582909441113341</c:v>
                </c:pt>
                <c:pt idx="1">
                  <c:v>0.00046589041991429523</c:v>
                </c:pt>
                <c:pt idx="2">
                  <c:v>0.0006806029313325278</c:v>
                </c:pt>
                <c:pt idx="3">
                  <c:v>0.0020350292108436557</c:v>
                </c:pt>
                <c:pt idx="4">
                  <c:v>0.008380404994777034</c:v>
                </c:pt>
                <c:pt idx="5">
                  <c:v>0.005258207228793761</c:v>
                </c:pt>
                <c:pt idx="6">
                  <c:v>0.016707206930224885</c:v>
                </c:pt>
                <c:pt idx="7">
                  <c:v>0.02003460760947631</c:v>
                </c:pt>
                <c:pt idx="8">
                  <c:v>0.012158715446567272</c:v>
                </c:pt>
                <c:pt idx="9">
                  <c:v>0.004027064129008179</c:v>
                </c:pt>
                <c:pt idx="10">
                  <c:v>0.0011347936805216176</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1.3520144718186915e-08</c:v>
                </c:pt>
                <c:pt idx="1">
                  <c:v>0.0015140984734152224</c:v>
                </c:pt>
                <c:pt idx="2">
                  <c:v>0.0019560900311123767</c:v>
                </c:pt>
                <c:pt idx="3">
                  <c:v>0.00436629017630431</c:v>
                </c:pt>
                <c:pt idx="4">
                  <c:v>0.0037744728815551137</c:v>
                </c:pt>
                <c:pt idx="5">
                  <c:v>0.0034438242223271344</c:v>
                </c:pt>
                <c:pt idx="6">
                  <c:v>0.00733505707366851</c:v>
                </c:pt>
                <c:pt idx="7">
                  <c:v>0.007984190768593007</c:v>
                </c:pt>
                <c:pt idx="8">
                  <c:v>2.185756729440218e-06</c:v>
                </c:pt>
                <c:pt idx="9">
                  <c:v>3.3935563242649154e-06</c:v>
                </c:pt>
                <c:pt idx="10">
                  <c:v>7.616348191245295e-07</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0.0013820749780182892</c:v>
                </c:pt>
                <c:pt idx="1">
                  <c:v>0.000105581416291328</c:v>
                </c:pt>
                <c:pt idx="2">
                  <c:v>0.00016108074060959914</c:v>
                </c:pt>
                <c:pt idx="3">
                  <c:v>0.000507040464211404</c:v>
                </c:pt>
                <c:pt idx="4">
                  <c:v>0.0019637434742806274</c:v>
                </c:pt>
                <c:pt idx="5">
                  <c:v>0.0012100492434937431</c:v>
                </c:pt>
                <c:pt idx="6">
                  <c:v>0.003893627295887939</c:v>
                </c:pt>
                <c:pt idx="7">
                  <c:v>0.004799968237281767</c:v>
                </c:pt>
                <c:pt idx="8">
                  <c:v>0.0028677249418169446</c:v>
                </c:pt>
                <c:pt idx="9">
                  <c:v>0.0009048494470347405</c:v>
                </c:pt>
                <c:pt idx="10">
                  <c:v>0.000313986219636298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
                </c:pt>
                <c:pt idx="1">
                  <c:v/>
                </c:pt>
                <c:pt idx="2">
                  <c:v>0.0036167359067666416</c:v>
                </c:pt>
                <c:pt idx="3">
                  <c:v>0.0007205909721310282</c:v>
                </c:pt>
                <c:pt idx="4">
                  <c:v>0.001046146064512113</c:v>
                </c:pt>
                <c:pt idx="5">
                  <c:v>0.0027907972627108997</c:v>
                </c:pt>
                <c:pt idx="6">
                  <c:v>0.00031033515424119226</c:v>
                </c:pt>
                <c:pt idx="7">
                  <c:v>0.006787540706871052</c:v>
                </c:pt>
                <c:pt idx="8">
                  <c:v>0.0072680860156173616</c:v>
                </c:pt>
                <c:pt idx="9">
                  <c:v/>
                </c:pt>
                <c:pt idx="10">
                  <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0.00582909441113341</c:v>
                </c:pt>
                <c:pt idx="1">
                  <c:v>0.00046589041991429523</c:v>
                </c:pt>
                <c:pt idx="2">
                  <c:v>0.0006806029313325278</c:v>
                </c:pt>
                <c:pt idx="3">
                  <c:v>0.0020350292108436557</c:v>
                </c:pt>
                <c:pt idx="4">
                  <c:v>0.008380404994777034</c:v>
                </c:pt>
                <c:pt idx="5">
                  <c:v>0.005258207228793761</c:v>
                </c:pt>
                <c:pt idx="6">
                  <c:v>0.016707206930224885</c:v>
                </c:pt>
                <c:pt idx="7">
                  <c:v>0.02003460760947631</c:v>
                </c:pt>
                <c:pt idx="8">
                  <c:v>0.012158715446567272</c:v>
                </c:pt>
                <c:pt idx="9">
                  <c:v>0.004027064129008179</c:v>
                </c:pt>
                <c:pt idx="10">
                  <c:v>0.0011347936805216176</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
                </c:pt>
                <c:pt idx="1">
                  <c:v/>
                </c:pt>
                <c:pt idx="2">
                  <c:v/>
                </c:pt>
                <c:pt idx="3">
                  <c:v/>
                </c:pt>
                <c:pt idx="4">
                  <c:v/>
                </c:pt>
                <c:pt idx="5">
                  <c:v/>
                </c:pt>
                <c:pt idx="6">
                  <c:v>0.0045544047456652</c:v>
                </c:pt>
                <c:pt idx="7">
                  <c:v>0.0026853604363414013</c:v>
                </c:pt>
                <c:pt idx="8">
                  <c:v>0.003106330333993053</c:v>
                </c:pt>
                <c:pt idx="9">
                  <c:v/>
                </c:pt>
                <c:pt idx="10">
                  <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2.1181560058492834e-07</c:v>
                </c:pt>
                <c:pt idx="1">
                  <c:v>2.4336260492736444e-07</c:v>
                </c:pt>
                <c:pt idx="2">
                  <c:v>0.003026574529464262</c:v>
                </c:pt>
                <c:pt idx="3">
                  <c:v>0.0034725365029936576</c:v>
                </c:pt>
                <c:pt idx="4">
                  <c:v>0.0018439494441048283</c:v>
                </c:pt>
                <c:pt idx="5">
                  <c:v>0.0022671840543629514</c:v>
                </c:pt>
                <c:pt idx="6">
                  <c:v>0.0025051656416924775</c:v>
                </c:pt>
                <c:pt idx="7">
                  <c:v>0.006024157361937826</c:v>
                </c:pt>
                <c:pt idx="8">
                  <c:v>0.0071417099907686256</c:v>
                </c:pt>
                <c:pt idx="9">
                  <c:v/>
                </c:pt>
                <c:pt idx="10">
                  <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
                </c:pt>
                <c:pt idx="1">
                  <c:v/>
                </c:pt>
                <c:pt idx="2">
                  <c:v/>
                </c:pt>
                <c:pt idx="3">
                  <c:v/>
                </c:pt>
                <c:pt idx="4">
                  <c:v/>
                </c:pt>
                <c:pt idx="5">
                  <c:v/>
                </c:pt>
                <c:pt idx="6">
                  <c:v/>
                </c:pt>
                <c:pt idx="7">
                  <c:v/>
                </c:pt>
                <c:pt idx="8">
                  <c:v/>
                </c:pt>
                <c:pt idx="9">
                  <c:v/>
                </c:pt>
                <c:pt idx="10">
                  <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
                </c:pt>
                <c:pt idx="1">
                  <c:v/>
                </c:pt>
                <c:pt idx="2">
                  <c:v>0.0071417099907686256</c:v>
                </c:pt>
                <c:pt idx="3">
                  <c:v>0.006024157361937826</c:v>
                </c:pt>
                <c:pt idx="4">
                  <c:v>0.0022671840543629514</c:v>
                </c:pt>
                <c:pt idx="5">
                  <c:v>0.0025051656416924775</c:v>
                </c:pt>
                <c:pt idx="6">
                  <c:v>0.0034725365029936576</c:v>
                </c:pt>
                <c:pt idx="7">
                  <c:v>0.0018439494441048283</c:v>
                </c:pt>
                <c:pt idx="8">
                  <c:v>2.4336260492736444e-07</c:v>
                </c:pt>
                <c:pt idx="9">
                  <c:v>0.003026574529464262</c:v>
                </c:pt>
                <c:pt idx="10">
                  <c:v>2.1181560058492834e-07</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0.0013820749780182892</c:v>
                </c:pt>
                <c:pt idx="1">
                  <c:v>0.000105581416291328</c:v>
                </c:pt>
                <c:pt idx="2">
                  <c:v>0.00016108074060959914</c:v>
                </c:pt>
                <c:pt idx="3">
                  <c:v>0.000507040464211404</c:v>
                </c:pt>
                <c:pt idx="4">
                  <c:v>0.0019637434742806274</c:v>
                </c:pt>
                <c:pt idx="5">
                  <c:v>0.0012100492434937431</c:v>
                </c:pt>
                <c:pt idx="6">
                  <c:v>0.003893627295887939</c:v>
                </c:pt>
                <c:pt idx="7">
                  <c:v>0.004799968237281767</c:v>
                </c:pt>
                <c:pt idx="8">
                  <c:v>0.0028677249418169446</c:v>
                </c:pt>
                <c:pt idx="9">
                  <c:v>0.0009048494470347405</c:v>
                </c:pt>
                <c:pt idx="10">
                  <c:v>0.000313986219636298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
                </c:pt>
                <c:pt idx="1">
                  <c:v/>
                </c:pt>
                <c:pt idx="2">
                  <c:v/>
                </c:pt>
                <c:pt idx="3">
                  <c:v/>
                </c:pt>
                <c:pt idx="4">
                  <c:v/>
                </c:pt>
                <c:pt idx="5">
                  <c:v/>
                </c:pt>
                <c:pt idx="6">
                  <c:v/>
                </c:pt>
                <c:pt idx="7">
                  <c:v/>
                </c:pt>
                <c:pt idx="8">
                  <c:v/>
                </c:pt>
                <c:pt idx="9">
                  <c:v/>
                </c:pt>
                <c:pt idx="10">
                  <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
                </c:pt>
                <c:pt idx="1">
                  <c:v/>
                </c:pt>
                <c:pt idx="2">
                  <c:v/>
                </c:pt>
                <c:pt idx="3">
                  <c:v/>
                </c:pt>
                <c:pt idx="4">
                  <c:v>7.015560464634518e-05</c:v>
                </c:pt>
                <c:pt idx="5">
                  <c:v>0.00245541230633906</c:v>
                </c:pt>
                <c:pt idx="6">
                  <c:v/>
                </c:pt>
                <c:pt idx="7">
                  <c:v>0.004474388654481323</c:v>
                </c:pt>
                <c:pt idx="8">
                  <c:v>0.008301678324277485</c:v>
                </c:pt>
                <c:pt idx="9">
                  <c:v>0.000818979638972972</c:v>
                </c:pt>
                <c:pt idx="10">
                  <c:v>5.060437066269851e-05</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0.00582909441113341</c:v>
                </c:pt>
                <c:pt idx="1">
                  <c:v>0.00046589041991429523</c:v>
                </c:pt>
                <c:pt idx="2">
                  <c:v>0.0006806029313325278</c:v>
                </c:pt>
                <c:pt idx="3">
                  <c:v>0.0020350292108436557</c:v>
                </c:pt>
                <c:pt idx="4">
                  <c:v>0.008380404994777034</c:v>
                </c:pt>
                <c:pt idx="5">
                  <c:v>0.005258207228793761</c:v>
                </c:pt>
                <c:pt idx="6">
                  <c:v>0.016707206930224885</c:v>
                </c:pt>
                <c:pt idx="7">
                  <c:v>0.02003460760947631</c:v>
                </c:pt>
                <c:pt idx="8">
                  <c:v>0.012158715446567272</c:v>
                </c:pt>
                <c:pt idx="9">
                  <c:v>0.004027064129008179</c:v>
                </c:pt>
                <c:pt idx="10">
                  <c:v>0.0011347936805216176</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
                </c:pt>
                <c:pt idx="1">
                  <c:v/>
                </c:pt>
                <c:pt idx="2">
                  <c:v/>
                </c:pt>
                <c:pt idx="3">
                  <c:v/>
                </c:pt>
                <c:pt idx="4">
                  <c:v>5.6738927006220936e-05</c:v>
                </c:pt>
                <c:pt idx="5">
                  <c:v>0.004427290925762504</c:v>
                </c:pt>
                <c:pt idx="6">
                  <c:v>0.0007271674354298761</c:v>
                </c:pt>
                <c:pt idx="7">
                  <c:v>0.0037977808617816865</c:v>
                </c:pt>
                <c:pt idx="8">
                  <c:v>0.014202711947701584</c:v>
                </c:pt>
                <c:pt idx="9">
                  <c:v>0.0014093408378813206</c:v>
                </c:pt>
                <c:pt idx="10">
                  <c:v>6.037908941621792e-07</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0.075987114333625</c:v>
                </c:pt>
                <c:pt idx="1">
                  <c:v>0.006073270753232594</c:v>
                </c:pt>
                <c:pt idx="2">
                  <c:v>0.008872227675741015</c:v>
                </c:pt>
                <c:pt idx="3">
                  <c:v>0.026528305498242234</c:v>
                </c:pt>
                <c:pt idx="4">
                  <c:v>0.10924557874443219</c:v>
                </c:pt>
                <c:pt idx="5">
                  <c:v>0.06854512308483184</c:v>
                </c:pt>
                <c:pt idx="6">
                  <c:v>0.21779239683916565</c:v>
                </c:pt>
                <c:pt idx="7">
                  <c:v>0.26116784386660485</c:v>
                </c:pt>
                <c:pt idx="8">
                  <c:v>0.1584990112741501</c:v>
                </c:pt>
                <c:pt idx="9">
                  <c:v>0.05249614448092028</c:v>
                </c:pt>
                <c:pt idx="10">
                  <c:v>0.014792983449054269</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6.037908941621792e-07</c:v>
                </c:pt>
                <c:pt idx="1">
                  <c:v>0.0014093408378813206</c:v>
                </c:pt>
                <c:pt idx="2">
                  <c:v>0.014202711947701584</c:v>
                </c:pt>
                <c:pt idx="3">
                  <c:v>0.0037977808617816865</c:v>
                </c:pt>
                <c:pt idx="4">
                  <c:v>0.004427290925762504</c:v>
                </c:pt>
                <c:pt idx="5">
                  <c:v>0.0007271674354298761</c:v>
                </c:pt>
                <c:pt idx="6">
                  <c:v/>
                </c:pt>
                <c:pt idx="7">
                  <c:v>5.6738927006220936e-05</c:v>
                </c:pt>
                <c:pt idx="8">
                  <c:v/>
                </c:pt>
                <c:pt idx="9">
                  <c:v/>
                </c:pt>
                <c:pt idx="10">
                  <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0.00582909441113341</c:v>
                </c:pt>
                <c:pt idx="1">
                  <c:v>0.00046589041991429523</c:v>
                </c:pt>
                <c:pt idx="2">
                  <c:v>0.0006806029313325278</c:v>
                </c:pt>
                <c:pt idx="3">
                  <c:v>0.0020350292108436557</c:v>
                </c:pt>
                <c:pt idx="4">
                  <c:v>0.008380404994777034</c:v>
                </c:pt>
                <c:pt idx="5">
                  <c:v>0.005258207228793761</c:v>
                </c:pt>
                <c:pt idx="6">
                  <c:v>0.016707206930224885</c:v>
                </c:pt>
                <c:pt idx="7">
                  <c:v>0.02003460760947631</c:v>
                </c:pt>
                <c:pt idx="8">
                  <c:v>0.012158715446567272</c:v>
                </c:pt>
                <c:pt idx="9">
                  <c:v>0.004027064129008179</c:v>
                </c:pt>
                <c:pt idx="10">
                  <c:v>0.0011347936805216176</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
                </c:pt>
                <c:pt idx="1">
                  <c:v/>
                </c:pt>
                <c:pt idx="2">
                  <c:v>0.003106330333993053</c:v>
                </c:pt>
                <c:pt idx="3">
                  <c:v>0.0026853604363414013</c:v>
                </c:pt>
                <c:pt idx="4">
                  <c:v/>
                </c:pt>
                <c:pt idx="5">
                  <c:v>0.0045544047456652</c:v>
                </c:pt>
                <c:pt idx="6">
                  <c:v/>
                </c:pt>
                <c:pt idx="7">
                  <c:v/>
                </c:pt>
                <c:pt idx="8">
                  <c:v/>
                </c:pt>
                <c:pt idx="9">
                  <c:v/>
                </c:pt>
                <c:pt idx="10">
                  <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0.0013820749780182892</c:v>
                </c:pt>
                <c:pt idx="1">
                  <c:v>0.000105581416291328</c:v>
                </c:pt>
                <c:pt idx="2">
                  <c:v>0.00016108074060959914</c:v>
                </c:pt>
                <c:pt idx="3">
                  <c:v>0.000507040464211404</c:v>
                </c:pt>
                <c:pt idx="4">
                  <c:v>0.0019637434742806274</c:v>
                </c:pt>
                <c:pt idx="5">
                  <c:v>0.0012100492434937431</c:v>
                </c:pt>
                <c:pt idx="6">
                  <c:v>0.003893627295887939</c:v>
                </c:pt>
                <c:pt idx="7">
                  <c:v>0.004799968237281767</c:v>
                </c:pt>
                <c:pt idx="8">
                  <c:v>0.0028677249418169446</c:v>
                </c:pt>
                <c:pt idx="9">
                  <c:v>0.0009048494470347405</c:v>
                </c:pt>
                <c:pt idx="10">
                  <c:v>0.000313986219636298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2.0005985421496842e-08</c:v>
                </c:pt>
                <c:pt idx="1">
                  <c:v/>
                </c:pt>
                <c:pt idx="2">
                  <c:v>2.6931134221245748e-08</c:v>
                </c:pt>
                <c:pt idx="3">
                  <c:v>0.007404972354098087</c:v>
                </c:pt>
                <c:pt idx="4">
                  <c:v>0.004124840229892041</c:v>
                </c:pt>
                <c:pt idx="5">
                  <c:v>0.004353486328891395</c:v>
                </c:pt>
                <c:pt idx="6">
                  <c:v>0.0023692272906042297</c:v>
                </c:pt>
                <c:pt idx="7">
                  <c:v>0.007395838852292196</c:v>
                </c:pt>
                <c:pt idx="8">
                  <c:v>0.0018738036843921483</c:v>
                </c:pt>
                <c:pt idx="9">
                  <c:v>1.382105808234332e-05</c:v>
                </c:pt>
                <c:pt idx="10">
                  <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0.00582909441113341</c:v>
                </c:pt>
                <c:pt idx="1">
                  <c:v>0.00046589041991429523</c:v>
                </c:pt>
                <c:pt idx="2">
                  <c:v>0.0006806029313325278</c:v>
                </c:pt>
                <c:pt idx="3">
                  <c:v>0.0020350292108436557</c:v>
                </c:pt>
                <c:pt idx="4">
                  <c:v>0.008380404994777034</c:v>
                </c:pt>
                <c:pt idx="5">
                  <c:v>0.005258207228793761</c:v>
                </c:pt>
                <c:pt idx="6">
                  <c:v>0.016707206930224885</c:v>
                </c:pt>
                <c:pt idx="7">
                  <c:v>0.02003460760947631</c:v>
                </c:pt>
                <c:pt idx="8">
                  <c:v>0.012158715446567272</c:v>
                </c:pt>
                <c:pt idx="9">
                  <c:v>0.004027064129008179</c:v>
                </c:pt>
                <c:pt idx="10">
                  <c:v>0.0011347936805216176</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
                </c:pt>
                <c:pt idx="1">
                  <c:v/>
                </c:pt>
                <c:pt idx="2">
                  <c:v>0.0010911140082494788</c:v>
                </c:pt>
                <c:pt idx="3">
                  <c:v>0.008893067715346174</c:v>
                </c:pt>
                <c:pt idx="4">
                  <c:v>0.010190266006000218</c:v>
                </c:pt>
                <c:pt idx="5">
                  <c:v>0.00013437250235945805</c:v>
                </c:pt>
                <c:pt idx="6">
                  <c:v>0.001123567768810696</c:v>
                </c:pt>
                <c:pt idx="7">
                  <c:v>0.01099924710758907</c:v>
                </c:pt>
                <c:pt idx="8">
                  <c:v>0.00042038360437874267</c:v>
                </c:pt>
                <c:pt idx="9">
                  <c:v/>
                </c:pt>
                <c:pt idx="10">
                  <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0.075987114333625</c:v>
                </c:pt>
                <c:pt idx="1">
                  <c:v>0.006073270753232594</c:v>
                </c:pt>
                <c:pt idx="2">
                  <c:v>0.008872227675741015</c:v>
                </c:pt>
                <c:pt idx="3">
                  <c:v>0.026528305498242234</c:v>
                </c:pt>
                <c:pt idx="4">
                  <c:v>0.10924557874443219</c:v>
                </c:pt>
                <c:pt idx="5">
                  <c:v>0.06854512308483184</c:v>
                </c:pt>
                <c:pt idx="6">
                  <c:v>0.21779239683916565</c:v>
                </c:pt>
                <c:pt idx="7">
                  <c:v>0.26116784386660485</c:v>
                </c:pt>
                <c:pt idx="8">
                  <c:v>0.1584990112741501</c:v>
                </c:pt>
                <c:pt idx="9">
                  <c:v>0.05249614448092028</c:v>
                </c:pt>
                <c:pt idx="10">
                  <c:v>0.014792983449054269</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
                </c:pt>
                <c:pt idx="1">
                  <c:v/>
                </c:pt>
                <c:pt idx="2">
                  <c:v>0.00042038360437874267</c:v>
                </c:pt>
                <c:pt idx="3">
                  <c:v>0.01099924710758907</c:v>
                </c:pt>
                <c:pt idx="4">
                  <c:v>0.00013437250235945805</c:v>
                </c:pt>
                <c:pt idx="5">
                  <c:v>0.001123567768810696</c:v>
                </c:pt>
                <c:pt idx="6">
                  <c:v>0.008893067715346174</c:v>
                </c:pt>
                <c:pt idx="7">
                  <c:v>0.010190266006000218</c:v>
                </c:pt>
                <c:pt idx="8">
                  <c:v/>
                </c:pt>
                <c:pt idx="9">
                  <c:v>0.0010911140082494788</c:v>
                </c:pt>
                <c:pt idx="10">
                  <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0.0013820749780182892</c:v>
                </c:pt>
                <c:pt idx="1">
                  <c:v>0.000105581416291328</c:v>
                </c:pt>
                <c:pt idx="2">
                  <c:v>0.00016108074060959914</c:v>
                </c:pt>
                <c:pt idx="3">
                  <c:v>0.000507040464211404</c:v>
                </c:pt>
                <c:pt idx="4">
                  <c:v>0.0019637434742806274</c:v>
                </c:pt>
                <c:pt idx="5">
                  <c:v>0.0012100492434937431</c:v>
                </c:pt>
                <c:pt idx="6">
                  <c:v>0.003893627295887939</c:v>
                </c:pt>
                <c:pt idx="7">
                  <c:v>0.004799968237281767</c:v>
                </c:pt>
                <c:pt idx="8">
                  <c:v>0.0028677249418169446</c:v>
                </c:pt>
                <c:pt idx="9">
                  <c:v>0.0009048494470347405</c:v>
                </c:pt>
                <c:pt idx="10">
                  <c:v>0.000313986219636298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
                </c:pt>
                <c:pt idx="1">
                  <c:v/>
                </c:pt>
                <c:pt idx="2">
                  <c:v>0.0036167359067666416</c:v>
                </c:pt>
                <c:pt idx="3">
                  <c:v>0.0007205909721310282</c:v>
                </c:pt>
                <c:pt idx="4">
                  <c:v>0.001046146064512113</c:v>
                </c:pt>
                <c:pt idx="5">
                  <c:v>0.0027907972627108997</c:v>
                </c:pt>
                <c:pt idx="6">
                  <c:v>0.00031033515424119226</c:v>
                </c:pt>
                <c:pt idx="7">
                  <c:v>0.006787540706871052</c:v>
                </c:pt>
                <c:pt idx="8">
                  <c:v>0.0072680860156173616</c:v>
                </c:pt>
                <c:pt idx="9">
                  <c:v/>
                </c:pt>
                <c:pt idx="10">
                  <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0.00582909441113341</c:v>
                </c:pt>
                <c:pt idx="1">
                  <c:v>0.00046589041991429523</c:v>
                </c:pt>
                <c:pt idx="2">
                  <c:v>0.0006806029313325278</c:v>
                </c:pt>
                <c:pt idx="3">
                  <c:v>0.0020350292108436557</c:v>
                </c:pt>
                <c:pt idx="4">
                  <c:v>0.008380404994777034</c:v>
                </c:pt>
                <c:pt idx="5">
                  <c:v>0.005258207228793761</c:v>
                </c:pt>
                <c:pt idx="6">
                  <c:v>0.016707206930224885</c:v>
                </c:pt>
                <c:pt idx="7">
                  <c:v>0.02003460760947631</c:v>
                </c:pt>
                <c:pt idx="8">
                  <c:v>0.012158715446567272</c:v>
                </c:pt>
                <c:pt idx="9">
                  <c:v>0.004027064129008179</c:v>
                </c:pt>
                <c:pt idx="10">
                  <c:v>0.0011347936805216176</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3.0479828791840778e-06</c:v>
                </c:pt>
                <c:pt idx="1">
                  <c:v>0.004409571985291514</c:v>
                </c:pt>
                <c:pt idx="2">
                  <c:v>0.0009073061264304924</c:v>
                </c:pt>
                <c:pt idx="3">
                  <c:v/>
                </c:pt>
                <c:pt idx="4">
                  <c:v>8.462361608949927e-05</c:v>
                </c:pt>
                <c:pt idx="5">
                  <c:v>0.005922248151299687</c:v>
                </c:pt>
                <c:pt idx="6">
                  <c:v>0.0008709509477839196</c:v>
                </c:pt>
                <c:pt idx="7">
                  <c:v>0.007454245625921049</c:v>
                </c:pt>
                <c:pt idx="8">
                  <c:v>0.007907698393118522</c:v>
                </c:pt>
                <c:pt idx="9">
                  <c:v/>
                </c:pt>
                <c:pt idx="10">
                  <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0.075987114333625</c:v>
                </c:pt>
                <c:pt idx="1">
                  <c:v>0.006073270753232594</c:v>
                </c:pt>
                <c:pt idx="2">
                  <c:v>0.008872227675741015</c:v>
                </c:pt>
                <c:pt idx="3">
                  <c:v>0.026528305498242234</c:v>
                </c:pt>
                <c:pt idx="4">
                  <c:v>0.10924557874443219</c:v>
                </c:pt>
                <c:pt idx="5">
                  <c:v>0.06854512308483184</c:v>
                </c:pt>
                <c:pt idx="6">
                  <c:v>0.21779239683916565</c:v>
                </c:pt>
                <c:pt idx="7">
                  <c:v>0.26116784386660485</c:v>
                </c:pt>
                <c:pt idx="8">
                  <c:v>0.1584990112741501</c:v>
                </c:pt>
                <c:pt idx="9">
                  <c:v>0.05249614448092028</c:v>
                </c:pt>
                <c:pt idx="10">
                  <c:v>0.014792983449054269</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
                </c:pt>
                <c:pt idx="1">
                  <c:v/>
                </c:pt>
                <c:pt idx="2">
                  <c:v>0.007907698393118522</c:v>
                </c:pt>
                <c:pt idx="3">
                  <c:v>0.007454245625921049</c:v>
                </c:pt>
                <c:pt idx="4">
                  <c:v>0.005922248151299687</c:v>
                </c:pt>
                <c:pt idx="5">
                  <c:v>0.0008709509477839196</c:v>
                </c:pt>
                <c:pt idx="6">
                  <c:v/>
                </c:pt>
                <c:pt idx="7">
                  <c:v>8.462361608949927e-05</c:v>
                </c:pt>
                <c:pt idx="8">
                  <c:v>0.004409571985291514</c:v>
                </c:pt>
                <c:pt idx="9">
                  <c:v>0.0009073061264304924</c:v>
                </c:pt>
                <c:pt idx="10">
                  <c:v>3.0479828791840778e-06</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1.5444833696659258e-05</c:v>
                </c:pt>
                <c:pt idx="1">
                  <c:v>0.0014288275396457098</c:v>
                </c:pt>
                <c:pt idx="2">
                  <c:v>0.0008711224294308466</c:v>
                </c:pt>
                <c:pt idx="3">
                  <c:v>0.00658809637792864</c:v>
                </c:pt>
                <c:pt idx="4">
                  <c:v>0.002724947190615666</c:v>
                </c:pt>
                <c:pt idx="5">
                  <c:v>0.0024211355111822316</c:v>
                </c:pt>
                <c:pt idx="6">
                  <c:v>0.020525051383394794</c:v>
                </c:pt>
                <c:pt idx="7">
                  <c:v>0.01640976032842305</c:v>
                </c:pt>
                <c:pt idx="8">
                  <c:v>0.034463408809668514</c:v>
                </c:pt>
                <c:pt idx="9">
                  <c:v>0.016358597650737352</c:v>
                </c:pt>
                <c:pt idx="10">
                  <c:v>0.01181995170846846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
                </c:pt>
                <c:pt idx="1">
                  <c:v/>
                </c:pt>
                <c:pt idx="2">
                  <c:v/>
                </c:pt>
                <c:pt idx="3">
                  <c:v/>
                </c:pt>
                <c:pt idx="4">
                  <c:v>0.0005217049306835106</c:v>
                </c:pt>
                <c:pt idx="5">
                  <c:v>0.01825942080516005</c:v>
                </c:pt>
                <c:pt idx="6">
                  <c:v/>
                </c:pt>
                <c:pt idx="7">
                  <c:v>0.030104786330746026</c:v>
                </c:pt>
                <c:pt idx="8">
                  <c:v>0.037905927276970515</c:v>
                </c:pt>
                <c:pt idx="9">
                  <c:v>0.00609025776251876</c:v>
                </c:pt>
                <c:pt idx="10">
                  <c:v>0.00037631419217254463</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0.00582909441113341</c:v>
                </c:pt>
                <c:pt idx="1">
                  <c:v>0.00046589041991429523</c:v>
                </c:pt>
                <c:pt idx="2">
                  <c:v>0.0006806029313325278</c:v>
                </c:pt>
                <c:pt idx="3">
                  <c:v>0.0020350292108436557</c:v>
                </c:pt>
                <c:pt idx="4">
                  <c:v>0.008380404994777034</c:v>
                </c:pt>
                <c:pt idx="5">
                  <c:v>0.005258207228793761</c:v>
                </c:pt>
                <c:pt idx="6">
                  <c:v>0.016707206930224885</c:v>
                </c:pt>
                <c:pt idx="7">
                  <c:v>0.02003460760947631</c:v>
                </c:pt>
                <c:pt idx="8">
                  <c:v>0.012158715446567272</c:v>
                </c:pt>
                <c:pt idx="9">
                  <c:v>0.004027064129008179</c:v>
                </c:pt>
                <c:pt idx="10">
                  <c:v>0.0011347936805216176</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
                </c:pt>
                <c:pt idx="1">
                  <c:v/>
                </c:pt>
                <c:pt idx="2">
                  <c:v/>
                </c:pt>
                <c:pt idx="3">
                  <c:v/>
                </c:pt>
                <c:pt idx="4">
                  <c:v>1.5171908853375233e-06</c:v>
                </c:pt>
                <c:pt idx="5">
                  <c:v>0.0020882278192255596</c:v>
                </c:pt>
                <c:pt idx="6">
                  <c:v>0.01692267970434872</c:v>
                </c:pt>
                <c:pt idx="7">
                  <c:v>0.03958883722423117</c:v>
                </c:pt>
                <c:pt idx="8">
                  <c:v>0.03447344271987417</c:v>
                </c:pt>
                <c:pt idx="9">
                  <c:v>0.008552573597412657</c:v>
                </c:pt>
                <c:pt idx="10">
                  <c:v>0.0007291619394932138</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
                </c:pt>
                <c:pt idx="1">
                  <c:v/>
                </c:pt>
                <c:pt idx="2">
                  <c:v/>
                </c:pt>
                <c:pt idx="3">
                  <c:v/>
                </c:pt>
                <c:pt idx="4">
                  <c:v>0.0003797804765477492</c:v>
                </c:pt>
                <c:pt idx="5">
                  <c:v>0.029633952320199126</c:v>
                </c:pt>
                <c:pt idx="6">
                  <c:v>0.004072779353838474</c:v>
                </c:pt>
                <c:pt idx="7">
                  <c:v>0.02133100990946085</c:v>
                </c:pt>
                <c:pt idx="8">
                  <c:v>0.06994396013225983</c:v>
                </c:pt>
                <c:pt idx="9">
                  <c:v>0.009433384860628181</c:v>
                </c:pt>
                <c:pt idx="10">
                  <c:v>4.04145805392059e-06</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0.075987114333625</c:v>
                </c:pt>
                <c:pt idx="1">
                  <c:v>0.006073270753232594</c:v>
                </c:pt>
                <c:pt idx="2">
                  <c:v>0.008872227675741015</c:v>
                </c:pt>
                <c:pt idx="3">
                  <c:v>0.026528305498242234</c:v>
                </c:pt>
                <c:pt idx="4">
                  <c:v>0.10924557874443219</c:v>
                </c:pt>
                <c:pt idx="5">
                  <c:v>0.06854512308483184</c:v>
                </c:pt>
                <c:pt idx="6">
                  <c:v>0.21779239683916565</c:v>
                </c:pt>
                <c:pt idx="7">
                  <c:v>0.26116784386660485</c:v>
                </c:pt>
                <c:pt idx="8">
                  <c:v>0.1584990112741501</c:v>
                </c:pt>
                <c:pt idx="9">
                  <c:v>0.05249614448092028</c:v>
                </c:pt>
                <c:pt idx="10">
                  <c:v>0.014792983449054269</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4.04145805392059e-06</c:v>
                </c:pt>
                <c:pt idx="1">
                  <c:v>0.009433384860628181</c:v>
                </c:pt>
                <c:pt idx="2">
                  <c:v>0.06994396013225983</c:v>
                </c:pt>
                <c:pt idx="3">
                  <c:v>0.02133100990946085</c:v>
                </c:pt>
                <c:pt idx="4">
                  <c:v>0.029633952320199126</c:v>
                </c:pt>
                <c:pt idx="5">
                  <c:v>0.004072779353838474</c:v>
                </c:pt>
                <c:pt idx="6">
                  <c:v/>
                </c:pt>
                <c:pt idx="7">
                  <c:v>0.0003797804765477492</c:v>
                </c:pt>
                <c:pt idx="8">
                  <c:v/>
                </c:pt>
                <c:pt idx="9">
                  <c:v/>
                </c:pt>
                <c:pt idx="10">
                  <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1.5444833696659258e-05</c:v>
                </c:pt>
                <c:pt idx="1">
                  <c:v>0.0014288275396457098</c:v>
                </c:pt>
                <c:pt idx="2">
                  <c:v>0.0008711224294308466</c:v>
                </c:pt>
                <c:pt idx="3">
                  <c:v>0.00658809637792864</c:v>
                </c:pt>
                <c:pt idx="4">
                  <c:v>0.002724947190615666</c:v>
                </c:pt>
                <c:pt idx="5">
                  <c:v>0.0024211355111822316</c:v>
                </c:pt>
                <c:pt idx="6">
                  <c:v>0.020525051383394794</c:v>
                </c:pt>
                <c:pt idx="7">
                  <c:v>0.01640976032842305</c:v>
                </c:pt>
                <c:pt idx="8">
                  <c:v>0.034463408809668514</c:v>
                </c:pt>
                <c:pt idx="9">
                  <c:v>0.016358597650737352</c:v>
                </c:pt>
                <c:pt idx="10">
                  <c:v>0.01181995170846846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
                </c:pt>
                <c:pt idx="1">
                  <c:v/>
                </c:pt>
                <c:pt idx="2">
                  <c:v/>
                </c:pt>
                <c:pt idx="3">
                  <c:v/>
                </c:pt>
                <c:pt idx="4">
                  <c:v/>
                </c:pt>
                <c:pt idx="5">
                  <c:v/>
                </c:pt>
                <c:pt idx="6">
                  <c:v/>
                </c:pt>
                <c:pt idx="7">
                  <c:v/>
                </c:pt>
                <c:pt idx="8">
                  <c:v/>
                </c:pt>
                <c:pt idx="9">
                  <c:v/>
                </c:pt>
                <c:pt idx="10">
                  <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
                </c:pt>
                <c:pt idx="1">
                  <c:v/>
                </c:pt>
                <c:pt idx="2">
                  <c:v/>
                </c:pt>
                <c:pt idx="3">
                  <c:v/>
                </c:pt>
                <c:pt idx="4">
                  <c:v/>
                </c:pt>
                <c:pt idx="5">
                  <c:v/>
                </c:pt>
                <c:pt idx="6">
                  <c:v>0.0023066195746928655</c:v>
                </c:pt>
                <c:pt idx="7">
                  <c:v>0.00010804313135361719</c:v>
                </c:pt>
                <c:pt idx="8">
                  <c:v>0.004786084127078704</c:v>
                </c:pt>
                <c:pt idx="9">
                  <c:v/>
                </c:pt>
                <c:pt idx="10">
                  <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0.00582909441113341</c:v>
                </c:pt>
                <c:pt idx="1">
                  <c:v>0.00046589041991429523</c:v>
                </c:pt>
                <c:pt idx="2">
                  <c:v>0.0006806029313325278</c:v>
                </c:pt>
                <c:pt idx="3">
                  <c:v>0.0020350292108436557</c:v>
                </c:pt>
                <c:pt idx="4">
                  <c:v>0.008380404994777034</c:v>
                </c:pt>
                <c:pt idx="5">
                  <c:v>0.005258207228793761</c:v>
                </c:pt>
                <c:pt idx="6">
                  <c:v>0.016707206930224885</c:v>
                </c:pt>
                <c:pt idx="7">
                  <c:v>0.02003460760947631</c:v>
                </c:pt>
                <c:pt idx="8">
                  <c:v>0.012158715446567272</c:v>
                </c:pt>
                <c:pt idx="9">
                  <c:v>0.004027064129008179</c:v>
                </c:pt>
                <c:pt idx="10">
                  <c:v>0.0011347936805216176</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
                </c:pt>
                <c:pt idx="1">
                  <c:v/>
                </c:pt>
                <c:pt idx="2">
                  <c:v/>
                </c:pt>
                <c:pt idx="3">
                  <c:v/>
                </c:pt>
                <c:pt idx="4">
                  <c:v/>
                </c:pt>
                <c:pt idx="5">
                  <c:v/>
                </c:pt>
                <c:pt idx="6">
                  <c:v>2.4171027976332754e-05</c:v>
                </c:pt>
                <c:pt idx="7">
                  <c:v>0.0006401824998104595</c:v>
                </c:pt>
                <c:pt idx="8">
                  <c:v>0.006101435856212228</c:v>
                </c:pt>
                <c:pt idx="9">
                  <c:v/>
                </c:pt>
                <c:pt idx="10">
                  <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0.075987114333625</c:v>
                </c:pt>
                <c:pt idx="1">
                  <c:v>0.006073270753232594</c:v>
                </c:pt>
                <c:pt idx="2">
                  <c:v>0.008872227675741015</c:v>
                </c:pt>
                <c:pt idx="3">
                  <c:v>0.026528305498242234</c:v>
                </c:pt>
                <c:pt idx="4">
                  <c:v>0.10924557874443219</c:v>
                </c:pt>
                <c:pt idx="5">
                  <c:v>0.06854512308483184</c:v>
                </c:pt>
                <c:pt idx="6">
                  <c:v>0.21779239683916565</c:v>
                </c:pt>
                <c:pt idx="7">
                  <c:v>0.26116784386660485</c:v>
                </c:pt>
                <c:pt idx="8">
                  <c:v>0.1584990112741501</c:v>
                </c:pt>
                <c:pt idx="9">
                  <c:v>0.05249614448092028</c:v>
                </c:pt>
                <c:pt idx="10">
                  <c:v>0.014792983449054269</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
                </c:pt>
                <c:pt idx="1">
                  <c:v/>
                </c:pt>
                <c:pt idx="2">
                  <c:v>0.006101435856212228</c:v>
                </c:pt>
                <c:pt idx="3">
                  <c:v>0.0006401824998104595</c:v>
                </c:pt>
                <c:pt idx="4">
                  <c:v/>
                </c:pt>
                <c:pt idx="5">
                  <c:v>2.4171027976332754e-05</c:v>
                </c:pt>
                <c:pt idx="6">
                  <c:v/>
                </c:pt>
                <c:pt idx="7">
                  <c:v/>
                </c:pt>
                <c:pt idx="8">
                  <c:v/>
                </c:pt>
                <c:pt idx="9">
                  <c:v/>
                </c:pt>
                <c:pt idx="10">
                  <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0.0007291619394932138</c:v>
                </c:pt>
                <c:pt idx="1">
                  <c:v>0.008552573597412657</c:v>
                </c:pt>
                <c:pt idx="2">
                  <c:v>0.03447344271987417</c:v>
                </c:pt>
                <c:pt idx="3">
                  <c:v>0.03958883722423117</c:v>
                </c:pt>
                <c:pt idx="4">
                  <c:v>0.0020882278192255596</c:v>
                </c:pt>
                <c:pt idx="5">
                  <c:v>0.01692267970434872</c:v>
                </c:pt>
                <c:pt idx="6">
                  <c:v/>
                </c:pt>
                <c:pt idx="7">
                  <c:v>1.5171908853375233e-06</c:v>
                </c:pt>
                <c:pt idx="8">
                  <c:v/>
                </c:pt>
                <c:pt idx="9">
                  <c:v/>
                </c:pt>
                <c:pt idx="10">
                  <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2.49 €</c:v>
                </c:pt>
                <c:pt idx="8">
                  <c:v>2.5-2.99 €</c:v>
                </c:pt>
                <c:pt idx="9">
                  <c:v>1.5-1.99 €</c:v>
                </c:pt>
                <c:pt idx="10">
                  <c:v>0-1.49 €</c:v>
                </c:pt>
              </c:strCache>
            </c:strRef>
          </c:cat>
          <c:val>
            <c:numRef>
              <c:f>Sheet1!$B$2:$B$12</c:f>
              <c:numCache>
                <c:formatCode>General</c:formatCode>
                <c:ptCount val="11"/>
                <c:pt idx="0">
                  <c:v>0.0013820749780182892</c:v>
                </c:pt>
                <c:pt idx="1">
                  <c:v>0.000105581416291328</c:v>
                </c:pt>
                <c:pt idx="2">
                  <c:v>0.00016108074060959914</c:v>
                </c:pt>
                <c:pt idx="3">
                  <c:v>0.000507040464211404</c:v>
                </c:pt>
                <c:pt idx="4">
                  <c:v>0.0019637434742806274</c:v>
                </c:pt>
                <c:pt idx="5">
                  <c:v>0.0012100492434937431</c:v>
                </c:pt>
                <c:pt idx="6">
                  <c:v>0.003893627295887939</c:v>
                </c:pt>
                <c:pt idx="7">
                  <c:v>0.0028677249418169446</c:v>
                </c:pt>
                <c:pt idx="8">
                  <c:v>0.004799968237281767</c:v>
                </c:pt>
                <c:pt idx="9">
                  <c:v>0.0009048494470347405</c:v>
                </c:pt>
                <c:pt idx="10">
                  <c:v>0.000313986219636298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2.49 €</c:v>
                </c:pt>
                <c:pt idx="8">
                  <c:v>2.5-2.99 €</c:v>
                </c:pt>
                <c:pt idx="9">
                  <c:v>1.5-1.99 €</c:v>
                </c:pt>
                <c:pt idx="10">
                  <c:v>0-1.49 €</c:v>
                </c:pt>
              </c:strCache>
            </c:strRef>
          </c:cat>
          <c:val>
            <c:numRef>
              <c:f>Sheet1!$B$2:$B$12</c:f>
              <c:numCache>
                <c:formatCode>General</c:formatCode>
                <c:ptCount val="11"/>
                <c:pt idx="0">
                  <c:v/>
                </c:pt>
                <c:pt idx="1">
                  <c:v/>
                </c:pt>
                <c:pt idx="2">
                  <c:v/>
                </c:pt>
                <c:pt idx="3">
                  <c:v/>
                </c:pt>
                <c:pt idx="4">
                  <c:v/>
                </c:pt>
                <c:pt idx="5">
                  <c:v>0.0881051588193958</c:v>
                </c:pt>
                <c:pt idx="6">
                  <c:v>0.00013891207746723243</c:v>
                </c:pt>
                <c:pt idx="7">
                  <c:v/>
                </c:pt>
                <c:pt idx="8">
                  <c:v/>
                </c:pt>
                <c:pt idx="9">
                  <c:v/>
                </c:pt>
                <c:pt idx="10">
                  <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2.49 €</c:v>
                </c:pt>
                <c:pt idx="8">
                  <c:v>2.5-2.99 €</c:v>
                </c:pt>
                <c:pt idx="9">
                  <c:v>1.5-1.99 €</c:v>
                </c:pt>
                <c:pt idx="10">
                  <c:v>0-1.49 €</c:v>
                </c:pt>
              </c:strCache>
            </c:strRef>
          </c:cat>
          <c:val>
            <c:numRef>
              <c:f>Sheet1!$B$2:$B$12</c:f>
              <c:numCache>
                <c:formatCode>General</c:formatCode>
                <c:ptCount val="11"/>
                <c:pt idx="0">
                  <c:v>0.00582909441113341</c:v>
                </c:pt>
                <c:pt idx="1">
                  <c:v>0.00046589041991429523</c:v>
                </c:pt>
                <c:pt idx="2">
                  <c:v>0.0006806029313325278</c:v>
                </c:pt>
                <c:pt idx="3">
                  <c:v>0.0020350292108436557</c:v>
                </c:pt>
                <c:pt idx="4">
                  <c:v>0.008380404994777034</c:v>
                </c:pt>
                <c:pt idx="5">
                  <c:v>0.005258207228793761</c:v>
                </c:pt>
                <c:pt idx="6">
                  <c:v>0.016707206930224885</c:v>
                </c:pt>
                <c:pt idx="7">
                  <c:v>0.012158715446567272</c:v>
                </c:pt>
                <c:pt idx="8">
                  <c:v>0.02003460760947631</c:v>
                </c:pt>
                <c:pt idx="9">
                  <c:v>0.004027064129008179</c:v>
                </c:pt>
                <c:pt idx="10">
                  <c:v>0.0011347936805216176</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2.49 €</c:v>
                </c:pt>
                <c:pt idx="8">
                  <c:v>2.5-2.99 €</c:v>
                </c:pt>
                <c:pt idx="9">
                  <c:v>1.5-1.99 €</c:v>
                </c:pt>
                <c:pt idx="10">
                  <c:v>0-1.49 €</c:v>
                </c:pt>
              </c:strCache>
            </c:strRef>
          </c:cat>
          <c:val>
            <c:numRef>
              <c:f>Sheet1!$B$2:$B$12</c:f>
              <c:numCache>
                <c:formatCode>General</c:formatCode>
                <c:ptCount val="11"/>
                <c:pt idx="0">
                  <c:v/>
                </c:pt>
                <c:pt idx="1">
                  <c:v/>
                </c:pt>
                <c:pt idx="2">
                  <c:v/>
                </c:pt>
                <c:pt idx="3">
                  <c:v/>
                </c:pt>
                <c:pt idx="4">
                  <c:v>0.0019428990141866858</c:v>
                </c:pt>
                <c:pt idx="5">
                  <c:v>0.07689897051294806</c:v>
                </c:pt>
                <c:pt idx="6">
                  <c:v>0.02118923587943137</c:v>
                </c:pt>
                <c:pt idx="7">
                  <c:v/>
                </c:pt>
                <c:pt idx="8">
                  <c:v/>
                </c:pt>
                <c:pt idx="9">
                  <c:v/>
                </c:pt>
                <c:pt idx="10">
                  <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2.49 €</c:v>
                </c:pt>
                <c:pt idx="8">
                  <c:v>2.5-2.99 €</c:v>
                </c:pt>
                <c:pt idx="9">
                  <c:v>1.5-1.99 €</c:v>
                </c:pt>
                <c:pt idx="10">
                  <c:v>0-1.49 €</c:v>
                </c:pt>
              </c:strCache>
            </c:strRef>
          </c:cat>
          <c:val>
            <c:numRef>
              <c:f>Sheet1!$B$2:$B$12</c:f>
              <c:numCache>
                <c:formatCode>General</c:formatCode>
                <c:ptCount val="11"/>
                <c:pt idx="0">
                  <c:v/>
                </c:pt>
                <c:pt idx="1">
                  <c:v/>
                </c:pt>
                <c:pt idx="2">
                  <c:v/>
                </c:pt>
                <c:pt idx="3">
                  <c:v/>
                </c:pt>
                <c:pt idx="4">
                  <c:v/>
                </c:pt>
                <c:pt idx="5">
                  <c:v/>
                </c:pt>
                <c:pt idx="6">
                  <c:v/>
                </c:pt>
                <c:pt idx="7">
                  <c:v/>
                </c:pt>
                <c:pt idx="8">
                  <c:v/>
                </c:pt>
                <c:pt idx="9">
                  <c:v/>
                </c:pt>
                <c:pt idx="10">
                  <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2.49 €</c:v>
                </c:pt>
                <c:pt idx="8">
                  <c:v>2.5-2.99 €</c:v>
                </c:pt>
                <c:pt idx="9">
                  <c:v>1.5-1.99 €</c:v>
                </c:pt>
                <c:pt idx="10">
                  <c:v>0-1.49 €</c:v>
                </c:pt>
              </c:strCache>
            </c:strRef>
          </c:cat>
          <c:val>
            <c:numRef>
              <c:f>Sheet1!$B$2:$B$12</c:f>
              <c:numCache>
                <c:formatCode>General</c:formatCode>
                <c:ptCount val="11"/>
                <c:pt idx="0">
                  <c:v/>
                </c:pt>
                <c:pt idx="1">
                  <c:v/>
                </c:pt>
                <c:pt idx="2">
                  <c:v/>
                </c:pt>
                <c:pt idx="3">
                  <c:v/>
                </c:pt>
                <c:pt idx="4">
                  <c:v>0.07689897051294806</c:v>
                </c:pt>
                <c:pt idx="5">
                  <c:v>0.02118923587943137</c:v>
                </c:pt>
                <c:pt idx="6">
                  <c:v/>
                </c:pt>
                <c:pt idx="7">
                  <c:v>0.0019428990141866858</c:v>
                </c:pt>
                <c:pt idx="8">
                  <c:v/>
                </c:pt>
                <c:pt idx="9">
                  <c:v/>
                </c:pt>
                <c:pt idx="10">
                  <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2.49 €</c:v>
                </c:pt>
                <c:pt idx="8">
                  <c:v>2.5-2.99 €</c:v>
                </c:pt>
                <c:pt idx="9">
                  <c:v>1.5-1.99 €</c:v>
                </c:pt>
                <c:pt idx="10">
                  <c:v>0-1.49 €</c:v>
                </c:pt>
              </c:strCache>
            </c:strRef>
          </c:cat>
          <c:val>
            <c:numRef>
              <c:f>Sheet1!$B$2:$B$12</c:f>
              <c:numCache>
                <c:formatCode>General</c:formatCode>
                <c:ptCount val="11"/>
                <c:pt idx="0">
                  <c:v>0.0013820749780182892</c:v>
                </c:pt>
                <c:pt idx="1">
                  <c:v>0.000105581416291328</c:v>
                </c:pt>
                <c:pt idx="2">
                  <c:v>0.00016108074060959914</c:v>
                </c:pt>
                <c:pt idx="3">
                  <c:v>0.000507040464211404</c:v>
                </c:pt>
                <c:pt idx="4">
                  <c:v>0.0019637434742806274</c:v>
                </c:pt>
                <c:pt idx="5">
                  <c:v>0.0012100492434937431</c:v>
                </c:pt>
                <c:pt idx="6">
                  <c:v>0.003893627295887939</c:v>
                </c:pt>
                <c:pt idx="7">
                  <c:v>0.0028677249418169446</c:v>
                </c:pt>
                <c:pt idx="8">
                  <c:v>0.004799968237281767</c:v>
                </c:pt>
                <c:pt idx="9">
                  <c:v>0.0009048494470347405</c:v>
                </c:pt>
                <c:pt idx="10">
                  <c:v>0.000313986219636298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2.49 €</c:v>
                </c:pt>
                <c:pt idx="8">
                  <c:v>2.5-2.99 €</c:v>
                </c:pt>
                <c:pt idx="9">
                  <c:v>1.5-1.99 €</c:v>
                </c:pt>
                <c:pt idx="10">
                  <c:v>0-1.49 €</c:v>
                </c:pt>
              </c:strCache>
            </c:strRef>
          </c:cat>
          <c:val>
            <c:numRef>
              <c:f>Sheet1!$B$2:$B$12</c:f>
              <c:numCache>
                <c:formatCode>General</c:formatCode>
                <c:ptCount val="11"/>
                <c:pt idx="0">
                  <c:v/>
                </c:pt>
                <c:pt idx="1">
                  <c:v/>
                </c:pt>
                <c:pt idx="2">
                  <c:v/>
                </c:pt>
                <c:pt idx="3">
                  <c:v/>
                </c:pt>
                <c:pt idx="4">
                  <c:v/>
                </c:pt>
                <c:pt idx="5">
                  <c:v>0.0881051588193958</c:v>
                </c:pt>
                <c:pt idx="6">
                  <c:v>0.00013891207746723243</c:v>
                </c:pt>
                <c:pt idx="7">
                  <c:v/>
                </c:pt>
                <c:pt idx="8">
                  <c:v/>
                </c:pt>
                <c:pt idx="9">
                  <c:v/>
                </c:pt>
                <c:pt idx="10">
                  <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2.49 €</c:v>
                </c:pt>
                <c:pt idx="8">
                  <c:v>2.5-2.99 €</c:v>
                </c:pt>
                <c:pt idx="9">
                  <c:v>1.5-1.99 €</c:v>
                </c:pt>
                <c:pt idx="10">
                  <c:v>0-1.49 €</c:v>
                </c:pt>
              </c:strCache>
            </c:strRef>
          </c:cat>
          <c:val>
            <c:numRef>
              <c:f>Sheet1!$B$2:$B$12</c:f>
              <c:numCache>
                <c:formatCode>General</c:formatCode>
                <c:ptCount val="11"/>
                <c:pt idx="0">
                  <c:v>0.00582909441113341</c:v>
                </c:pt>
                <c:pt idx="1">
                  <c:v>0.00046589041991429523</c:v>
                </c:pt>
                <c:pt idx="2">
                  <c:v>0.0006806029313325278</c:v>
                </c:pt>
                <c:pt idx="3">
                  <c:v>0.0020350292108436557</c:v>
                </c:pt>
                <c:pt idx="4">
                  <c:v>0.008380404994777034</c:v>
                </c:pt>
                <c:pt idx="5">
                  <c:v>0.005258207228793761</c:v>
                </c:pt>
                <c:pt idx="6">
                  <c:v>0.016707206930224885</c:v>
                </c:pt>
                <c:pt idx="7">
                  <c:v>0.012158715446567272</c:v>
                </c:pt>
                <c:pt idx="8">
                  <c:v>0.02003460760947631</c:v>
                </c:pt>
                <c:pt idx="9">
                  <c:v>0.004027064129008179</c:v>
                </c:pt>
                <c:pt idx="10">
                  <c:v>0.0011347936805216176</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2.49 €</c:v>
                </c:pt>
                <c:pt idx="8">
                  <c:v>2.5-2.99 €</c:v>
                </c:pt>
                <c:pt idx="9">
                  <c:v>1.5-1.99 €</c:v>
                </c:pt>
                <c:pt idx="10">
                  <c:v>0-1.49 €</c:v>
                </c:pt>
              </c:strCache>
            </c:strRef>
          </c:cat>
          <c:val>
            <c:numRef>
              <c:f>Sheet1!$B$2:$B$12</c:f>
              <c:numCache>
                <c:formatCode>General</c:formatCode>
                <c:ptCount val="11"/>
                <c:pt idx="0">
                  <c:v/>
                </c:pt>
                <c:pt idx="1">
                  <c:v/>
                </c:pt>
                <c:pt idx="2">
                  <c:v/>
                </c:pt>
                <c:pt idx="3">
                  <c:v/>
                </c:pt>
                <c:pt idx="4">
                  <c:v/>
                </c:pt>
                <c:pt idx="5">
                  <c:v>0.1124391481839141</c:v>
                </c:pt>
                <c:pt idx="6">
                  <c:v>0.005194465693769867</c:v>
                </c:pt>
                <c:pt idx="7">
                  <c:v/>
                </c:pt>
                <c:pt idx="8">
                  <c:v/>
                </c:pt>
                <c:pt idx="9">
                  <c:v/>
                </c:pt>
                <c:pt idx="10">
                  <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2.49 €</c:v>
                </c:pt>
                <c:pt idx="8">
                  <c:v>2.5-2.99 €</c:v>
                </c:pt>
                <c:pt idx="9">
                  <c:v>1.5-1.99 €</c:v>
                </c:pt>
                <c:pt idx="10">
                  <c:v>0-1.49 €</c:v>
                </c:pt>
              </c:strCache>
            </c:strRef>
          </c:cat>
          <c:val>
            <c:numRef>
              <c:f>Sheet1!$B$2:$B$12</c:f>
              <c:numCache>
                <c:formatCode>General</c:formatCode>
                <c:ptCount val="11"/>
                <c:pt idx="0">
                  <c:v>0.075987114333625</c:v>
                </c:pt>
                <c:pt idx="1">
                  <c:v>0.006073270753232594</c:v>
                </c:pt>
                <c:pt idx="2">
                  <c:v>0.008872227675741015</c:v>
                </c:pt>
                <c:pt idx="3">
                  <c:v>0.026528305498242234</c:v>
                </c:pt>
                <c:pt idx="4">
                  <c:v>0.10924557874443219</c:v>
                </c:pt>
                <c:pt idx="5">
                  <c:v>0.06854512308483184</c:v>
                </c:pt>
                <c:pt idx="6">
                  <c:v>0.21779239683916565</c:v>
                </c:pt>
                <c:pt idx="7">
                  <c:v>0.1584990112741501</c:v>
                </c:pt>
                <c:pt idx="8">
                  <c:v>0.26116784386660485</c:v>
                </c:pt>
                <c:pt idx="9">
                  <c:v>0.05249614448092028</c:v>
                </c:pt>
                <c:pt idx="10">
                  <c:v>0.014792983449054269</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2.49 €</c:v>
                </c:pt>
                <c:pt idx="8">
                  <c:v>2.5-2.99 €</c:v>
                </c:pt>
                <c:pt idx="9">
                  <c:v>1.5-1.99 €</c:v>
                </c:pt>
                <c:pt idx="10">
                  <c:v>0-1.49 €</c:v>
                </c:pt>
              </c:strCache>
            </c:strRef>
          </c:cat>
          <c:val>
            <c:numRef>
              <c:f>Sheet1!$B$2:$B$12</c:f>
              <c:numCache>
                <c:formatCode>General</c:formatCode>
                <c:ptCount val="11"/>
                <c:pt idx="0">
                  <c:v/>
                </c:pt>
                <c:pt idx="1">
                  <c:v/>
                </c:pt>
                <c:pt idx="2">
                  <c:v/>
                </c:pt>
                <c:pt idx="3">
                  <c:v/>
                </c:pt>
                <c:pt idx="4">
                  <c:v>0.1124391481839141</c:v>
                </c:pt>
                <c:pt idx="5">
                  <c:v>0.005194465693769867</c:v>
                </c:pt>
                <c:pt idx="6">
                  <c:v/>
                </c:pt>
                <c:pt idx="7">
                  <c:v/>
                </c:pt>
                <c:pt idx="8">
                  <c:v/>
                </c:pt>
                <c:pt idx="9">
                  <c:v/>
                </c:pt>
                <c:pt idx="10">
                  <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2.49 €</c:v>
                </c:pt>
                <c:pt idx="8">
                  <c:v>2.5-2.99 €</c:v>
                </c:pt>
                <c:pt idx="9">
                  <c:v>1.5-1.99 €</c:v>
                </c:pt>
                <c:pt idx="10">
                  <c:v>0-1.49 €</c:v>
                </c:pt>
              </c:strCache>
            </c:strRef>
          </c:cat>
          <c:val>
            <c:numRef>
              <c:f>Sheet1!$B$2:$B$12</c:f>
              <c:numCache>
                <c:formatCode>General</c:formatCode>
                <c:ptCount val="11"/>
                <c:pt idx="0">
                  <c:v>0.0013820749780182892</c:v>
                </c:pt>
                <c:pt idx="1">
                  <c:v>0.000105581416291328</c:v>
                </c:pt>
                <c:pt idx="2">
                  <c:v>0.00016108074060959914</c:v>
                </c:pt>
                <c:pt idx="3">
                  <c:v>0.000507040464211404</c:v>
                </c:pt>
                <c:pt idx="4">
                  <c:v>0.0019637434742806274</c:v>
                </c:pt>
                <c:pt idx="5">
                  <c:v>0.0012100492434937431</c:v>
                </c:pt>
                <c:pt idx="6">
                  <c:v>0.003893627295887939</c:v>
                </c:pt>
                <c:pt idx="7">
                  <c:v>0.0028677249418169446</c:v>
                </c:pt>
                <c:pt idx="8">
                  <c:v>0.004799968237281767</c:v>
                </c:pt>
                <c:pt idx="9">
                  <c:v>0.0009048494470347405</c:v>
                </c:pt>
                <c:pt idx="10">
                  <c:v>0.000313986219636298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2.49 €</c:v>
                </c:pt>
                <c:pt idx="8">
                  <c:v>2.5-2.99 €</c:v>
                </c:pt>
                <c:pt idx="9">
                  <c:v>1.5-1.99 €</c:v>
                </c:pt>
                <c:pt idx="10">
                  <c:v>0-1.49 €</c:v>
                </c:pt>
              </c:strCache>
            </c:strRef>
          </c:cat>
          <c:val>
            <c:numRef>
              <c:f>Sheet1!$B$2:$B$12</c:f>
              <c:numCache>
                <c:formatCode>General</c:formatCode>
                <c:ptCount val="11"/>
                <c:pt idx="0">
                  <c:v/>
                </c:pt>
                <c:pt idx="1">
                  <c:v/>
                </c:pt>
                <c:pt idx="2">
                  <c:v/>
                </c:pt>
                <c:pt idx="3">
                  <c:v/>
                </c:pt>
                <c:pt idx="4">
                  <c:v/>
                </c:pt>
                <c:pt idx="5">
                  <c:v/>
                </c:pt>
                <c:pt idx="6">
                  <c:v/>
                </c:pt>
                <c:pt idx="7">
                  <c:v/>
                </c:pt>
                <c:pt idx="8">
                  <c:v>0.021681402222724067</c:v>
                </c:pt>
                <c:pt idx="9">
                  <c:v/>
                </c:pt>
                <c:pt idx="10">
                  <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2.49 €</c:v>
                </c:pt>
                <c:pt idx="8">
                  <c:v>2.5-2.99 €</c:v>
                </c:pt>
                <c:pt idx="9">
                  <c:v>1.5-1.99 €</c:v>
                </c:pt>
                <c:pt idx="10">
                  <c:v>0-1.49 €</c:v>
                </c:pt>
              </c:strCache>
            </c:strRef>
          </c:cat>
          <c:val>
            <c:numRef>
              <c:f>Sheet1!$B$2:$B$12</c:f>
              <c:numCache>
                <c:formatCode>General</c:formatCode>
                <c:ptCount val="11"/>
                <c:pt idx="0">
                  <c:v>0.00582909441113341</c:v>
                </c:pt>
                <c:pt idx="1">
                  <c:v>0.00046589041991429523</c:v>
                </c:pt>
                <c:pt idx="2">
                  <c:v>0.0006806029313325278</c:v>
                </c:pt>
                <c:pt idx="3">
                  <c:v>0.0020350292108436557</c:v>
                </c:pt>
                <c:pt idx="4">
                  <c:v>0.008380404994777034</c:v>
                </c:pt>
                <c:pt idx="5">
                  <c:v>0.005258207228793761</c:v>
                </c:pt>
                <c:pt idx="6">
                  <c:v>0.016707206930224885</c:v>
                </c:pt>
                <c:pt idx="7">
                  <c:v>0.012158715446567272</c:v>
                </c:pt>
                <c:pt idx="8">
                  <c:v>0.02003460760947631</c:v>
                </c:pt>
                <c:pt idx="9">
                  <c:v>0.004027064129008179</c:v>
                </c:pt>
                <c:pt idx="10">
                  <c:v>0.0011347936805216176</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2.49 €</c:v>
                </c:pt>
                <c:pt idx="8">
                  <c:v>2.5-2.99 €</c:v>
                </c:pt>
                <c:pt idx="9">
                  <c:v>1.5-1.99 €</c:v>
                </c:pt>
                <c:pt idx="10">
                  <c:v>0-1.49 €</c:v>
                </c:pt>
              </c:strCache>
            </c:strRef>
          </c:cat>
          <c:val>
            <c:numRef>
              <c:f>Sheet1!$B$2:$B$12</c:f>
              <c:numCache>
                <c:formatCode>General</c:formatCode>
                <c:ptCount val="11"/>
                <c:pt idx="0">
                  <c:v/>
                </c:pt>
                <c:pt idx="1">
                  <c:v/>
                </c:pt>
                <c:pt idx="2">
                  <c:v/>
                </c:pt>
                <c:pt idx="3">
                  <c:v/>
                </c:pt>
                <c:pt idx="4">
                  <c:v/>
                </c:pt>
                <c:pt idx="5">
                  <c:v/>
                </c:pt>
                <c:pt idx="6">
                  <c:v/>
                </c:pt>
                <c:pt idx="7">
                  <c:v/>
                </c:pt>
                <c:pt idx="8">
                  <c:v>0.021688916322634172</c:v>
                </c:pt>
                <c:pt idx="9">
                  <c:v/>
                </c:pt>
                <c:pt idx="10">
                  <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2.49 €</c:v>
                </c:pt>
                <c:pt idx="8">
                  <c:v>2.5-2.99 €</c:v>
                </c:pt>
                <c:pt idx="9">
                  <c:v>1.5-1.99 €</c:v>
                </c:pt>
                <c:pt idx="10">
                  <c:v>0-1.49 €</c:v>
                </c:pt>
              </c:strCache>
            </c:strRef>
          </c:cat>
          <c:val>
            <c:numRef>
              <c:f>Sheet1!$B$2:$B$12</c:f>
              <c:numCache>
                <c:formatCode>General</c:formatCode>
                <c:ptCount val="11"/>
                <c:pt idx="0">
                  <c:v>0.075987114333625</c:v>
                </c:pt>
                <c:pt idx="1">
                  <c:v>0.006073270753232594</c:v>
                </c:pt>
                <c:pt idx="2">
                  <c:v>0.008872227675741015</c:v>
                </c:pt>
                <c:pt idx="3">
                  <c:v>0.026528305498242234</c:v>
                </c:pt>
                <c:pt idx="4">
                  <c:v>0.10924557874443219</c:v>
                </c:pt>
                <c:pt idx="5">
                  <c:v>0.06854512308483184</c:v>
                </c:pt>
                <c:pt idx="6">
                  <c:v>0.21779239683916565</c:v>
                </c:pt>
                <c:pt idx="7">
                  <c:v>0.1584990112741501</c:v>
                </c:pt>
                <c:pt idx="8">
                  <c:v>0.26116784386660485</c:v>
                </c:pt>
                <c:pt idx="9">
                  <c:v>0.05249614448092028</c:v>
                </c:pt>
                <c:pt idx="10">
                  <c:v>0.014792983449054269</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2.49 €</c:v>
                </c:pt>
                <c:pt idx="8">
                  <c:v>2.5-2.99 €</c:v>
                </c:pt>
                <c:pt idx="9">
                  <c:v>1.5-1.99 €</c:v>
                </c:pt>
                <c:pt idx="10">
                  <c:v>0-1.49 €</c:v>
                </c:pt>
              </c:strCache>
            </c:strRef>
          </c:cat>
          <c:val>
            <c:numRef>
              <c:f>Sheet1!$B$2:$B$12</c:f>
              <c:numCache>
                <c:formatCode>General</c:formatCode>
                <c:ptCount val="11"/>
                <c:pt idx="0">
                  <c:v/>
                </c:pt>
                <c:pt idx="1">
                  <c:v/>
                </c:pt>
                <c:pt idx="2">
                  <c:v/>
                </c:pt>
                <c:pt idx="3">
                  <c:v>0.021688916322634172</c:v>
                </c:pt>
                <c:pt idx="4">
                  <c:v/>
                </c:pt>
                <c:pt idx="5">
                  <c:v/>
                </c:pt>
                <c:pt idx="6">
                  <c:v/>
                </c:pt>
                <c:pt idx="7">
                  <c:v/>
                </c:pt>
                <c:pt idx="8">
                  <c:v/>
                </c:pt>
                <c:pt idx="9">
                  <c:v/>
                </c:pt>
                <c:pt idx="10">
                  <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2.49 €</c:v>
                </c:pt>
                <c:pt idx="8">
                  <c:v>2.5-2.99 €</c:v>
                </c:pt>
                <c:pt idx="9">
                  <c:v>1.5-1.99 €</c:v>
                </c:pt>
                <c:pt idx="10">
                  <c:v>0-1.49 €</c:v>
                </c:pt>
              </c:strCache>
            </c:strRef>
          </c:cat>
          <c:val>
            <c:numRef>
              <c:f>Sheet1!$B$2:$B$12</c:f>
              <c:numCache>
                <c:formatCode>General</c:formatCode>
                <c:ptCount val="11"/>
                <c:pt idx="0">
                  <c:v>0.0013820749780182892</c:v>
                </c:pt>
                <c:pt idx="1">
                  <c:v>0.000105581416291328</c:v>
                </c:pt>
                <c:pt idx="2">
                  <c:v>0.00016108074060959914</c:v>
                </c:pt>
                <c:pt idx="3">
                  <c:v>0.000507040464211404</c:v>
                </c:pt>
                <c:pt idx="4">
                  <c:v>0.0019637434742806274</c:v>
                </c:pt>
                <c:pt idx="5">
                  <c:v>0.0012100492434937431</c:v>
                </c:pt>
                <c:pt idx="6">
                  <c:v>0.003893627295887939</c:v>
                </c:pt>
                <c:pt idx="7">
                  <c:v>0.0028677249418169446</c:v>
                </c:pt>
                <c:pt idx="8">
                  <c:v>0.004799968237281767</c:v>
                </c:pt>
                <c:pt idx="9">
                  <c:v>0.0009048494470347405</c:v>
                </c:pt>
                <c:pt idx="10">
                  <c:v>0.000313986219636298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2.49 €</c:v>
                </c:pt>
                <c:pt idx="8">
                  <c:v>2.5-2.99 €</c:v>
                </c:pt>
                <c:pt idx="9">
                  <c:v>1.5-1.99 €</c:v>
                </c:pt>
                <c:pt idx="10">
                  <c:v>0-1.49 €</c:v>
                </c:pt>
              </c:strCache>
            </c:strRef>
          </c:cat>
          <c:val>
            <c:numRef>
              <c:f>Sheet1!$B$2:$B$12</c:f>
              <c:numCache>
                <c:formatCode>General</c:formatCode>
                <c:ptCount val="11"/>
                <c:pt idx="0">
                  <c:v/>
                </c:pt>
                <c:pt idx="1">
                  <c:v/>
                </c:pt>
                <c:pt idx="2">
                  <c:v/>
                </c:pt>
                <c:pt idx="3">
                  <c:v/>
                </c:pt>
                <c:pt idx="4">
                  <c:v/>
                </c:pt>
                <c:pt idx="5">
                  <c:v/>
                </c:pt>
                <c:pt idx="6">
                  <c:v/>
                </c:pt>
                <c:pt idx="7">
                  <c:v/>
                </c:pt>
                <c:pt idx="8">
                  <c:v/>
                </c:pt>
                <c:pt idx="9">
                  <c:v>5.870573587515014e-06</c:v>
                </c:pt>
                <c:pt idx="10">
                  <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2.49 €</c:v>
                </c:pt>
                <c:pt idx="8">
                  <c:v>2.5-2.99 €</c:v>
                </c:pt>
                <c:pt idx="9">
                  <c:v>1.5-1.99 €</c:v>
                </c:pt>
                <c:pt idx="10">
                  <c:v>0-1.49 €</c:v>
                </c:pt>
              </c:strCache>
            </c:strRef>
          </c:cat>
          <c:val>
            <c:numRef>
              <c:f>Sheet1!$B$2:$B$12</c:f>
              <c:numCache>
                <c:formatCode>General</c:formatCode>
                <c:ptCount val="11"/>
                <c:pt idx="0">
                  <c:v>0.00582909441113341</c:v>
                </c:pt>
                <c:pt idx="1">
                  <c:v>0.00046589041991429523</c:v>
                </c:pt>
                <c:pt idx="2">
                  <c:v>0.0006806029313325278</c:v>
                </c:pt>
                <c:pt idx="3">
                  <c:v>0.0020350292108436557</c:v>
                </c:pt>
                <c:pt idx="4">
                  <c:v>0.008380404994777034</c:v>
                </c:pt>
                <c:pt idx="5">
                  <c:v>0.005258207228793761</c:v>
                </c:pt>
                <c:pt idx="6">
                  <c:v>0.016707206930224885</c:v>
                </c:pt>
                <c:pt idx="7">
                  <c:v>0.012158715446567272</c:v>
                </c:pt>
                <c:pt idx="8">
                  <c:v>0.02003460760947631</c:v>
                </c:pt>
                <c:pt idx="9">
                  <c:v>0.004027064129008179</c:v>
                </c:pt>
                <c:pt idx="10">
                  <c:v>0.0011347936805216176</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E"/>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B72FB53-A71A-4C0E-9583-1C878767219E}" type="datetimeFigureOut">
              <a:rPr lang="en-AE" smtClean="0"/>
              <a:t>08/09/2025</a:t>
            </a:fld>
            <a:endParaRPr lang="en-AE"/>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AE"/>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AE"/>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50FCEFF-CD3C-4786-A618-EEEB1573EC82}" type="slidenum">
              <a:rPr lang="en-AE" smtClean="0"/>
              <a:t>‹#›</a:t>
            </a:fld>
            <a:endParaRPr lang="en-AE"/>
          </a:p>
        </p:txBody>
      </p:sp>
    </p:spTree>
    <p:extLst>
      <p:ext uri="{BB962C8B-B14F-4D97-AF65-F5344CB8AC3E}">
        <p14:creationId xmlns:p14="http://schemas.microsoft.com/office/powerpoint/2010/main" val="366100811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xml"/></Relationships>
</file>

<file path=ppt/notesSlides/_rels/notesSlide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xml"/></Relationships>
</file>

<file path=ppt/notesSlides/_rels/notesSlide1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xml"/></Relationships>
</file>

<file path=ppt/notesSlides/_rels/notesSlide1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xml"/></Relationships>
</file>

<file path=ppt/notesSlides/_rels/notesSlide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xml"/></Relationships>
</file>

<file path=ppt/notesSlides/_rels/notesSlide1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xml"/></Relationships>
</file>

<file path=ppt/notesSlides/_rels/notesSlide1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xml"/></Relationships>
</file>

<file path=ppt/notesSlides/_rels/notesSlide1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xml"/></Relationships>
</file>

<file path=ppt/notesSlides/_rels/notesSlide1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xml"/></Relationships>
</file>

<file path=ppt/notesSlides/_rels/notesSlide1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xml"/></Relationships>
</file>

<file path=ppt/notesSlides/_rels/notesSlide1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xml"/></Relationships>
</file>

<file path=ppt/notesSlides/_rels/notesSlide2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0.xml"/></Relationships>
</file>

<file path=ppt/notesSlides/_rels/notesSlide2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1.xml"/></Relationships>
</file>

<file path=ppt/notesSlides/_rels/notesSlide2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2.xml"/></Relationships>
</file>

<file path=ppt/notesSlides/_rels/notesSlide2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3.xml"/></Relationships>
</file>

<file path=ppt/notesSlides/_rels/notesSlide2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4.xml"/></Relationships>
</file>

<file path=ppt/notesSlides/_rels/notesSlide2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5.xml"/></Relationships>
</file>

<file path=ppt/notesSlides/_rels/notesSlide2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6.xml"/></Relationships>
</file>

<file path=ppt/notesSlides/_rels/notesSlide2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7.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xml"/></Relationships>
</file>

<file path=ppt/notesSlides/_rels/notesSlide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xml"/></Relationships>
</file>

<file path=ppt/notesSlides/_rels/notesSlide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xml"/></Relationships>
</file>

<file path=ppt/notesSlides/_rels/notesSlide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tags" Target="../tags/tag2.xml"/><Relationship Id="rId2" Type="http://schemas.openxmlformats.org/officeDocument/2006/relationships/slideMaster" Target="../slideMasters/slideMaster1.xml"/><Relationship Id="rId3" Type="http://schemas.openxmlformats.org/officeDocument/2006/relationships/oleObject" Target="../embeddings/oleObject2.bin"/><Relationship Id="rId4" Type="http://schemas.openxmlformats.org/officeDocument/2006/relationships/image" Target="../media/image2.emf"/><Relationship Id="rId5" Type="http://schemas.openxmlformats.org/officeDocument/2006/relationships/image" Target="../media/image3.jpeg"/></Relationships>
</file>

<file path=ppt/slideLayouts/_rels/slideLayout10.xml.rels><?xml version='1.0' encoding='UTF-8' standalone='yes'?>
<Relationships xmlns="http://schemas.openxmlformats.org/package/2006/relationships"><Relationship Id="rId1" Type="http://schemas.openxmlformats.org/officeDocument/2006/relationships/tags" Target="../tags/tag11.xml"/><Relationship Id="rId2" Type="http://schemas.openxmlformats.org/officeDocument/2006/relationships/slideMaster" Target="../slideMasters/slideMaster1.xml"/><Relationship Id="rId3" Type="http://schemas.openxmlformats.org/officeDocument/2006/relationships/oleObject" Target="../embeddings/oleObject11.bin"/><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1" Type="http://schemas.openxmlformats.org/officeDocument/2006/relationships/tags" Target="../tags/tag12.xml"/><Relationship Id="rId2" Type="http://schemas.openxmlformats.org/officeDocument/2006/relationships/slideMaster" Target="../slideMasters/slideMaster1.xml"/><Relationship Id="rId3" Type="http://schemas.openxmlformats.org/officeDocument/2006/relationships/oleObject" Target="../embeddings/oleObject12.bin"/><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1" Type="http://schemas.openxmlformats.org/officeDocument/2006/relationships/tags" Target="../tags/tag13.xml"/><Relationship Id="rId2" Type="http://schemas.openxmlformats.org/officeDocument/2006/relationships/slideMaster" Target="../slideMasters/slideMaster1.xml"/><Relationship Id="rId3" Type="http://schemas.openxmlformats.org/officeDocument/2006/relationships/oleObject" Target="../embeddings/oleObject13.bin"/><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1" Type="http://schemas.openxmlformats.org/officeDocument/2006/relationships/tags" Target="../tags/tag14.xml"/><Relationship Id="rId2" Type="http://schemas.openxmlformats.org/officeDocument/2006/relationships/slideMaster" Target="../slideMasters/slideMaster1.xml"/><Relationship Id="rId3" Type="http://schemas.openxmlformats.org/officeDocument/2006/relationships/oleObject" Target="../embeddings/oleObject14.bin"/><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1" Type="http://schemas.openxmlformats.org/officeDocument/2006/relationships/tags" Target="../tags/tag15.xml"/><Relationship Id="rId2" Type="http://schemas.openxmlformats.org/officeDocument/2006/relationships/slideMaster" Target="../slideMasters/slideMaster1.xml"/><Relationship Id="rId3" Type="http://schemas.openxmlformats.org/officeDocument/2006/relationships/oleObject" Target="../embeddings/oleObject15.bin"/><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1" Type="http://schemas.openxmlformats.org/officeDocument/2006/relationships/tags" Target="../tags/tag16.xml"/><Relationship Id="rId2" Type="http://schemas.openxmlformats.org/officeDocument/2006/relationships/slideMaster" Target="../slideMasters/slideMaster1.xml"/><Relationship Id="rId3" Type="http://schemas.openxmlformats.org/officeDocument/2006/relationships/oleObject" Target="../embeddings/oleObject16.bin"/><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1" Type="http://schemas.openxmlformats.org/officeDocument/2006/relationships/tags" Target="../tags/tag17.xml"/><Relationship Id="rId2" Type="http://schemas.openxmlformats.org/officeDocument/2006/relationships/slideMaster" Target="../slideMasters/slideMaster1.xml"/><Relationship Id="rId3" Type="http://schemas.openxmlformats.org/officeDocument/2006/relationships/oleObject" Target="../embeddings/oleObject17.bin"/><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1" Type="http://schemas.openxmlformats.org/officeDocument/2006/relationships/tags" Target="../tags/tag18.xml"/><Relationship Id="rId2" Type="http://schemas.openxmlformats.org/officeDocument/2006/relationships/slideMaster" Target="../slideMasters/slideMaster1.xml"/><Relationship Id="rId3" Type="http://schemas.openxmlformats.org/officeDocument/2006/relationships/oleObject" Target="../embeddings/oleObject18.bin"/><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1" Type="http://schemas.openxmlformats.org/officeDocument/2006/relationships/tags" Target="../tags/tag19.xml"/><Relationship Id="rId2" Type="http://schemas.openxmlformats.org/officeDocument/2006/relationships/slideMaster" Target="../slideMasters/slideMaster1.xml"/><Relationship Id="rId3" Type="http://schemas.openxmlformats.org/officeDocument/2006/relationships/oleObject" Target="../embeddings/oleObject19.bin"/><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1" Type="http://schemas.openxmlformats.org/officeDocument/2006/relationships/tags" Target="../tags/tag20.xml"/><Relationship Id="rId2" Type="http://schemas.openxmlformats.org/officeDocument/2006/relationships/slideMaster" Target="../slideMasters/slideMaster1.xml"/><Relationship Id="rId3" Type="http://schemas.openxmlformats.org/officeDocument/2006/relationships/oleObject" Target="../embeddings/oleObject20.bin"/><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1" Type="http://schemas.openxmlformats.org/officeDocument/2006/relationships/tags" Target="../tags/tag3.xml"/><Relationship Id="rId2" Type="http://schemas.openxmlformats.org/officeDocument/2006/relationships/slideMaster" Target="../slideMasters/slideMaster1.xml"/><Relationship Id="rId3" Type="http://schemas.openxmlformats.org/officeDocument/2006/relationships/oleObject" Target="../embeddings/oleObject3.bin"/><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1" Type="http://schemas.openxmlformats.org/officeDocument/2006/relationships/tags" Target="../tags/tag21.xml"/><Relationship Id="rId2" Type="http://schemas.openxmlformats.org/officeDocument/2006/relationships/slideMaster" Target="../slideMasters/slideMaster1.xml"/><Relationship Id="rId3" Type="http://schemas.openxmlformats.org/officeDocument/2006/relationships/oleObject" Target="../embeddings/oleObject21.bin"/><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1" Type="http://schemas.openxmlformats.org/officeDocument/2006/relationships/tags" Target="../tags/tag22.xml"/><Relationship Id="rId2" Type="http://schemas.openxmlformats.org/officeDocument/2006/relationships/slideMaster" Target="../slideMasters/slideMaster1.xml"/><Relationship Id="rId3" Type="http://schemas.openxmlformats.org/officeDocument/2006/relationships/oleObject" Target="../embeddings/oleObject22.bin"/><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1" Type="http://schemas.openxmlformats.org/officeDocument/2006/relationships/tags" Target="../tags/tag23.xml"/><Relationship Id="rId2" Type="http://schemas.openxmlformats.org/officeDocument/2006/relationships/slideMaster" Target="../slideMasters/slideMaster1.xml"/><Relationship Id="rId3" Type="http://schemas.openxmlformats.org/officeDocument/2006/relationships/oleObject" Target="../embeddings/oleObject23.bin"/><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1" Type="http://schemas.openxmlformats.org/officeDocument/2006/relationships/tags" Target="../tags/tag24.xml"/><Relationship Id="rId2" Type="http://schemas.openxmlformats.org/officeDocument/2006/relationships/slideMaster" Target="../slideMasters/slideMaster1.xml"/><Relationship Id="rId3" Type="http://schemas.openxmlformats.org/officeDocument/2006/relationships/oleObject" Target="../embeddings/oleObject24.bin"/><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1" Type="http://schemas.openxmlformats.org/officeDocument/2006/relationships/tags" Target="../tags/tag25.xml"/><Relationship Id="rId2" Type="http://schemas.openxmlformats.org/officeDocument/2006/relationships/tags" Target="../tags/tag26.xml"/><Relationship Id="rId3" Type="http://schemas.openxmlformats.org/officeDocument/2006/relationships/tags" Target="../tags/tag27.xml"/><Relationship Id="rId4" Type="http://schemas.openxmlformats.org/officeDocument/2006/relationships/slideMaster" Target="../slideMasters/slideMaster1.xml"/><Relationship Id="rId5" Type="http://schemas.openxmlformats.org/officeDocument/2006/relationships/oleObject" Target="../embeddings/oleObject25.bin"/><Relationship Id="rId6" Type="http://schemas.openxmlformats.org/officeDocument/2006/relationships/image" Target="../media/image26.emf"/><Relationship Id="rId7" Type="http://schemas.openxmlformats.org/officeDocument/2006/relationships/image" Target="../media/image27.png"/><Relationship Id="rId8" Type="http://schemas.openxmlformats.org/officeDocument/2006/relationships/oleObject" Target="../embeddings/oleObject26.bin"/></Relationships>
</file>

<file path=ppt/slideLayouts/_rels/slideLayout3.xml.rels><?xml version='1.0' encoding='UTF-8' standalone='yes'?>
<Relationships xmlns="http://schemas.openxmlformats.org/package/2006/relationships"><Relationship Id="rId1" Type="http://schemas.openxmlformats.org/officeDocument/2006/relationships/tags" Target="../tags/tag4.xml"/><Relationship Id="rId2" Type="http://schemas.openxmlformats.org/officeDocument/2006/relationships/slideMaster" Target="../slideMasters/slideMaster1.xml"/><Relationship Id="rId3" Type="http://schemas.openxmlformats.org/officeDocument/2006/relationships/oleObject" Target="../embeddings/oleObject4.bin"/><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1" Type="http://schemas.openxmlformats.org/officeDocument/2006/relationships/tags" Target="../tags/tag5.xml"/><Relationship Id="rId2" Type="http://schemas.openxmlformats.org/officeDocument/2006/relationships/slideMaster" Target="../slideMasters/slideMaster1.xml"/><Relationship Id="rId3" Type="http://schemas.openxmlformats.org/officeDocument/2006/relationships/oleObject" Target="../embeddings/oleObject5.bin"/><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1" Type="http://schemas.openxmlformats.org/officeDocument/2006/relationships/tags" Target="../tags/tag6.xml"/><Relationship Id="rId2" Type="http://schemas.openxmlformats.org/officeDocument/2006/relationships/slideMaster" Target="../slideMasters/slideMaster1.xml"/><Relationship Id="rId3" Type="http://schemas.openxmlformats.org/officeDocument/2006/relationships/oleObject" Target="../embeddings/oleObject6.bin"/><Relationship Id="rId4"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1" Type="http://schemas.openxmlformats.org/officeDocument/2006/relationships/tags" Target="../tags/tag7.xml"/><Relationship Id="rId2" Type="http://schemas.openxmlformats.org/officeDocument/2006/relationships/slideMaster" Target="../slideMasters/slideMaster1.xml"/><Relationship Id="rId3" Type="http://schemas.openxmlformats.org/officeDocument/2006/relationships/oleObject" Target="../embeddings/oleObject7.bin"/><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1" Type="http://schemas.openxmlformats.org/officeDocument/2006/relationships/tags" Target="../tags/tag8.xml"/><Relationship Id="rId2" Type="http://schemas.openxmlformats.org/officeDocument/2006/relationships/slideMaster" Target="../slideMasters/slideMaster1.xml"/><Relationship Id="rId3" Type="http://schemas.openxmlformats.org/officeDocument/2006/relationships/oleObject" Target="../embeddings/oleObject8.bin"/><Relationship Id="rId4" Type="http://schemas.openxmlformats.org/officeDocument/2006/relationships/image" Target="../media/image9.emf"/></Relationships>
</file>

<file path=ppt/slideLayouts/_rels/slideLayout8.xml.rels><?xml version='1.0' encoding='UTF-8' standalone='yes'?>
<Relationships xmlns="http://schemas.openxmlformats.org/package/2006/relationships"><Relationship Id="rId1" Type="http://schemas.openxmlformats.org/officeDocument/2006/relationships/tags" Target="../tags/tag9.xml"/><Relationship Id="rId2" Type="http://schemas.openxmlformats.org/officeDocument/2006/relationships/slideMaster" Target="../slideMasters/slideMaster1.xml"/><Relationship Id="rId3" Type="http://schemas.openxmlformats.org/officeDocument/2006/relationships/oleObject" Target="../embeddings/oleObject9.bin"/><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1" Type="http://schemas.openxmlformats.org/officeDocument/2006/relationships/tags" Target="../tags/tag10.xml"/><Relationship Id="rId2" Type="http://schemas.openxmlformats.org/officeDocument/2006/relationships/slideMaster" Target="../slideMasters/slideMaster1.xml"/><Relationship Id="rId3" Type="http://schemas.openxmlformats.org/officeDocument/2006/relationships/oleObject" Target="../embeddings/oleObject10.bin"/><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379188905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5153E8F8-C725-490B-A2BB-18588F7B4ACF}" type="datetime1">
              <a:rPr lang="en-US" smtClean="0"/>
              <a:t>9/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846837591"/>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B164E6A2-227B-438D-8602-2BE83213BCB8}" type="datetime1">
              <a:rPr lang="en-US" smtClean="0"/>
              <a:t>9/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990096307"/>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5E6583AB-8E60-4A4E-ADAC-A952AD7E92D3}" type="datetime1">
              <a:rPr lang="en-US" smtClean="0"/>
              <a:t>9/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39746472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F0C12ED-7BE9-4C80-94EE-FFFC04096FE6}" type="datetime1">
              <a:rPr lang="en-US" smtClean="0"/>
              <a:t>9/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24874276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4CAD5E5-A41D-49C7-A105-BB809A85D722}" type="datetime1">
              <a:rPr lang="en-US" smtClean="0"/>
              <a:t>9/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07318925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fld id="{3CC7FAB7-0A3F-426C-810A-90CBD5D51450}" type="datetime1">
              <a:rPr lang="en-US" smtClean="0"/>
              <a:t>9/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57633880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DC05B939-E4D8-4036-AFC5-12B85E4BA477}" type="datetime1">
              <a:rPr lang="en-US" smtClean="0"/>
              <a:t>9/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61579340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CA091353-1AD6-4727-A2AB-36EE75081A64}" type="datetime1">
              <a:rPr lang="en-US" smtClean="0"/>
              <a:t>9/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69686427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882BA3E0-7D23-4C20-89C0-E27F55EEA54B}" type="datetime1">
              <a:rPr lang="en-US" smtClean="0"/>
              <a:t>9/8/2025</a:t>
            </a:fld>
            <a:endParaRPr lang="en-US"/>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196261758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fld id="{C88635C9-C986-4FCC-A78C-2B876475CCA0}" type="datetime1">
              <a:rPr lang="en-US" smtClean="0"/>
              <a:t>9/8/2025</a:t>
            </a:fld>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320001542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72528286-1755-4E94-BF8E-E813592D6D60}" type="datetime1">
              <a:rPr lang="en-US" smtClean="0"/>
              <a:t>9/8/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65160586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fld id="{E931C11D-6280-4641-9503-8E75F01BCCC5}" type="datetime1">
              <a:rPr lang="en-US" smtClean="0"/>
              <a:t>9/8/2025</a:t>
            </a:fld>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26262366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fld id="{79CD4036-DD11-40EA-BEEE-E02523992CB3}" type="datetime1">
              <a:rPr lang="en-US" smtClean="0"/>
              <a:t>9/8/2025</a:t>
            </a:fld>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69575131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fld id="{82D4C315-07EB-4321-8252-A24E9FC3DEA6}" type="datetime1">
              <a:rPr lang="en-US" smtClean="0"/>
              <a:t>9/8/2025</a:t>
            </a:fld>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383084406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75050357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72A7EB78-2068-4D4B-88B1-EBD0FDF88D43}" type="datetime1">
              <a:rPr lang="en-US" smtClean="0"/>
              <a:t>9/8/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343116281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fld id="{C91DEF0D-2B75-4A09-A9B1-FECD88798F29}" type="datetime1">
              <a:rPr lang="en-US" smtClean="0"/>
              <a:t>9/8/2025</a:t>
            </a:fld>
            <a:endParaRPr lang="en-US"/>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365464047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24EE71A3-D7B7-4DE1-AE6D-53A52E9E346A}" type="datetime1">
              <a:rPr lang="en-US" smtClean="0"/>
              <a:t>9/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081299043"/>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C8D7BDDC-C794-46B8-9A4F-2DD329D637F6}" type="datetime1">
              <a:rPr lang="en-US" smtClean="0"/>
              <a:t>9/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873923462"/>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F6BE27BD-74BC-4659-9C5F-AEDA0FFC10A2}" type="datetime1">
              <a:rPr lang="en-US" smtClean="0"/>
              <a:t>9/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852245617"/>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fld id="{4173D8A8-8AB0-4609-A9BC-EA4284AFF02B}" type="datetime1">
              <a:rPr lang="en-US" smtClean="0"/>
              <a:pPr/>
              <a:t>9/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588150317"/>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fld id="{F039F0E9-E231-4FD7-B664-30235751A54D}" type="datetime1">
              <a:rPr lang="en-US" smtClean="0"/>
              <a:t>9/8/2025</a:t>
            </a:fld>
            <a:endParaRPr lang="en-US"/>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01692208"/>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344BBA10-8818-48FF-90BC-F125AC190F69}" type="datetime1">
              <a:rPr lang="en-US" smtClean="0"/>
              <a:t>9/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456388985"/>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 Id="rId10" Type="http://schemas.openxmlformats.org/officeDocument/2006/relationships/slideLayout" Target="../slideLayouts/slideLayout10.xml"/><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slideLayout" Target="../slideLayouts/slideLayout13.xml"/><Relationship Id="rId14" Type="http://schemas.openxmlformats.org/officeDocument/2006/relationships/slideLayout" Target="../slideLayouts/slideLayout14.xml"/><Relationship Id="rId15" Type="http://schemas.openxmlformats.org/officeDocument/2006/relationships/slideLayout" Target="../slideLayouts/slideLayout15.xml"/><Relationship Id="rId16" Type="http://schemas.openxmlformats.org/officeDocument/2006/relationships/slideLayout" Target="../slideLayouts/slideLayout16.xml"/><Relationship Id="rId17" Type="http://schemas.openxmlformats.org/officeDocument/2006/relationships/slideLayout" Target="../slideLayouts/slideLayout17.xml"/><Relationship Id="rId18" Type="http://schemas.openxmlformats.org/officeDocument/2006/relationships/slideLayout" Target="../slideLayouts/slideLayout18.xml"/><Relationship Id="rId19" Type="http://schemas.openxmlformats.org/officeDocument/2006/relationships/slideLayout" Target="../slideLayouts/slideLayout19.xml"/><Relationship Id="rId20" Type="http://schemas.openxmlformats.org/officeDocument/2006/relationships/slideLayout" Target="../slideLayouts/slideLayout20.xml"/><Relationship Id="rId21" Type="http://schemas.openxmlformats.org/officeDocument/2006/relationships/slideLayout" Target="../slideLayouts/slideLayout21.xml"/><Relationship Id="rId22" Type="http://schemas.openxmlformats.org/officeDocument/2006/relationships/slideLayout" Target="../slideLayouts/slideLayout22.xml"/><Relationship Id="rId23" Type="http://schemas.openxmlformats.org/officeDocument/2006/relationships/slideLayout" Target="../slideLayouts/slideLayout23.xml"/><Relationship Id="rId24" Type="http://schemas.openxmlformats.org/officeDocument/2006/relationships/slideLayout" Target="../slideLayouts/slideLayout24.xml"/><Relationship Id="rId25" Type="http://schemas.openxmlformats.org/officeDocument/2006/relationships/theme" Target="../theme/theme1.xml"/><Relationship Id="rId26" Type="http://schemas.openxmlformats.org/officeDocument/2006/relationships/tags" Target="../tags/tag1.xml"/><Relationship Id="rId27" Type="http://schemas.openxmlformats.org/officeDocument/2006/relationships/oleObject" Target="../embeddings/oleObject1.bin"/><Relationship Id="rId28"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fld id="{8ECCD11A-1697-44D1-8692-AEA971CE15AD}" type="datetime1">
              <a:rPr lang="en-US" smtClean="0"/>
              <a:t>9/8/2025</a:t>
            </a:fld>
            <a:endParaRPr lang="en-US" dirty="0"/>
          </a:p>
        </p:txBody>
      </p:sp>
    </p:spTree>
    <p:extLst>
      <p:ext uri="{BB962C8B-B14F-4D97-AF65-F5344CB8AC3E}">
        <p14:creationId xmlns:p14="http://schemas.microsoft.com/office/powerpoint/2010/main" val="2656213192"/>
      </p:ext>
    </p:extLst>
  </p:cSld>
  <p:clrMap bg1="lt1" tx1="dk1" bg2="lt2" tx2="dk2" accent1="accent1" accent2="accent2" accent3="accent3" accent4="accent4" accent5="accent5" accent6="accent6" hlink="hlink" folHlink="folHlink"/>
  <p:sldLayoutIdLst>
    <p:sldLayoutId id="2147483955" r:id="rId1"/>
    <p:sldLayoutId id="2147483959" r:id="rId2"/>
    <p:sldLayoutId id="2147483960" r:id="rId3"/>
    <p:sldLayoutId id="2147483961" r:id="rId4"/>
    <p:sldLayoutId id="2147483962" r:id="rId5"/>
    <p:sldLayoutId id="2147483963" r:id="rId6"/>
    <p:sldLayoutId id="2147483964" r:id="rId7"/>
    <p:sldLayoutId id="2147483965" r:id="rId8"/>
    <p:sldLayoutId id="2147483966" r:id="rId9"/>
    <p:sldLayoutId id="2147483967" r:id="rId10"/>
    <p:sldLayoutId id="2147483968" r:id="rId11"/>
    <p:sldLayoutId id="2147483969" r:id="rId12"/>
    <p:sldLayoutId id="2147483970" r:id="rId13"/>
    <p:sldLayoutId id="2147483971" r:id="rId14"/>
    <p:sldLayoutId id="2147483972" r:id="rId15"/>
    <p:sldLayoutId id="2147483973" r:id="rId16"/>
    <p:sldLayoutId id="2147483974" r:id="rId17"/>
    <p:sldLayoutId id="2147483975" r:id="rId18"/>
    <p:sldLayoutId id="2147483976" r:id="rId19"/>
    <p:sldLayoutId id="2147483977" r:id="rId20"/>
    <p:sldLayoutId id="2147483978" r:id="rId21"/>
    <p:sldLayoutId id="2147483979" r:id="rId22"/>
    <p:sldLayoutId id="2147484014" r:id="rId23"/>
    <p:sldLayoutId id="2147484015"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tags" Target="../tags/tag28.xml"/><Relationship Id="rId2" Type="http://schemas.openxmlformats.org/officeDocument/2006/relationships/slideLayout" Target="../slideLayouts/slideLayout7.xml"/><Relationship Id="rId3" Type="http://schemas.openxmlformats.org/officeDocument/2006/relationships/notesSlide" Target="../notesSlides/notesSlide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xml"/><Relationship Id="rId7" Type="http://schemas.openxmlformats.org/officeDocument/2006/relationships/chart" Target="../charts/chart2.xml"/><Relationship Id="rId8" Type="http://schemas.openxmlformats.org/officeDocument/2006/relationships/chart" Target="../charts/chart3.xml"/><Relationship Id="rId9" Type="http://schemas.openxmlformats.org/officeDocument/2006/relationships/chart" Target="../charts/chart4.xml"/><Relationship Id="rId10" Type="http://schemas.openxmlformats.org/officeDocument/2006/relationships/chart" Target="../charts/chart5.xml"/><Relationship Id="rId11" Type="http://schemas.openxmlformats.org/officeDocument/2006/relationships/chart" Target="../charts/chart6.xml"/><Relationship Id="rId12" Type="http://schemas.openxmlformats.org/officeDocument/2006/relationships/chart" Target="../charts/chart7.xml"/><Relationship Id="rId13" Type="http://schemas.openxmlformats.org/officeDocument/2006/relationships/chart" Target="../charts/chart8.xml"/><Relationship Id="rId14" Type="http://schemas.openxmlformats.org/officeDocument/2006/relationships/chart" Target="../charts/chart9.xml"/><Relationship Id="rId15" Type="http://schemas.openxmlformats.org/officeDocument/2006/relationships/chart" Target="../charts/chart10.xml"/><Relationship Id="rId16" Type="http://schemas.openxmlformats.org/officeDocument/2006/relationships/chart" Target="../charts/chart11.xml"/><Relationship Id="rId17" Type="http://schemas.openxmlformats.org/officeDocument/2006/relationships/chart" Target="../charts/chart12.xml"/></Relationships>
</file>

<file path=ppt/slides/_rels/slide10.xml.rels><?xml version='1.0' encoding='UTF-8' standalone='yes'?>
<Relationships xmlns="http://schemas.openxmlformats.org/package/2006/relationships"><Relationship Id="rId1" Type="http://schemas.openxmlformats.org/officeDocument/2006/relationships/tags" Target="../tags/tag37.xml"/><Relationship Id="rId2" Type="http://schemas.openxmlformats.org/officeDocument/2006/relationships/slideLayout" Target="../slideLayouts/slideLayout7.xml"/><Relationship Id="rId3" Type="http://schemas.openxmlformats.org/officeDocument/2006/relationships/notesSlide" Target="../notesSlides/notesSlide1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09.xml"/><Relationship Id="rId7" Type="http://schemas.openxmlformats.org/officeDocument/2006/relationships/chart" Target="../charts/chart110.xml"/><Relationship Id="rId8" Type="http://schemas.openxmlformats.org/officeDocument/2006/relationships/chart" Target="../charts/chart111.xml"/><Relationship Id="rId9" Type="http://schemas.openxmlformats.org/officeDocument/2006/relationships/chart" Target="../charts/chart112.xml"/><Relationship Id="rId10" Type="http://schemas.openxmlformats.org/officeDocument/2006/relationships/chart" Target="../charts/chart113.xml"/><Relationship Id="rId11" Type="http://schemas.openxmlformats.org/officeDocument/2006/relationships/chart" Target="../charts/chart114.xml"/><Relationship Id="rId12" Type="http://schemas.openxmlformats.org/officeDocument/2006/relationships/chart" Target="../charts/chart115.xml"/><Relationship Id="rId13" Type="http://schemas.openxmlformats.org/officeDocument/2006/relationships/chart" Target="../charts/chart116.xml"/><Relationship Id="rId14" Type="http://schemas.openxmlformats.org/officeDocument/2006/relationships/chart" Target="../charts/chart117.xml"/><Relationship Id="rId15" Type="http://schemas.openxmlformats.org/officeDocument/2006/relationships/chart" Target="../charts/chart118.xml"/><Relationship Id="rId16" Type="http://schemas.openxmlformats.org/officeDocument/2006/relationships/chart" Target="../charts/chart119.xml"/><Relationship Id="rId17" Type="http://schemas.openxmlformats.org/officeDocument/2006/relationships/chart" Target="../charts/chart120.xml"/></Relationships>
</file>

<file path=ppt/slides/_rels/slide11.xml.rels><?xml version='1.0' encoding='UTF-8' standalone='yes'?>
<Relationships xmlns="http://schemas.openxmlformats.org/package/2006/relationships"><Relationship Id="rId1" Type="http://schemas.openxmlformats.org/officeDocument/2006/relationships/tags" Target="../tags/tag38.xml"/><Relationship Id="rId2" Type="http://schemas.openxmlformats.org/officeDocument/2006/relationships/slideLayout" Target="../slideLayouts/slideLayout7.xml"/><Relationship Id="rId3" Type="http://schemas.openxmlformats.org/officeDocument/2006/relationships/notesSlide" Target="../notesSlides/notesSlide1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21.xml"/><Relationship Id="rId7" Type="http://schemas.openxmlformats.org/officeDocument/2006/relationships/chart" Target="../charts/chart122.xml"/><Relationship Id="rId8" Type="http://schemas.openxmlformats.org/officeDocument/2006/relationships/chart" Target="../charts/chart123.xml"/><Relationship Id="rId9" Type="http://schemas.openxmlformats.org/officeDocument/2006/relationships/chart" Target="../charts/chart124.xml"/><Relationship Id="rId10" Type="http://schemas.openxmlformats.org/officeDocument/2006/relationships/chart" Target="../charts/chart125.xml"/><Relationship Id="rId11" Type="http://schemas.openxmlformats.org/officeDocument/2006/relationships/chart" Target="../charts/chart126.xml"/><Relationship Id="rId12" Type="http://schemas.openxmlformats.org/officeDocument/2006/relationships/chart" Target="../charts/chart127.xml"/><Relationship Id="rId13" Type="http://schemas.openxmlformats.org/officeDocument/2006/relationships/chart" Target="../charts/chart128.xml"/><Relationship Id="rId14" Type="http://schemas.openxmlformats.org/officeDocument/2006/relationships/chart" Target="../charts/chart129.xml"/><Relationship Id="rId15" Type="http://schemas.openxmlformats.org/officeDocument/2006/relationships/chart" Target="../charts/chart130.xml"/><Relationship Id="rId16" Type="http://schemas.openxmlformats.org/officeDocument/2006/relationships/chart" Target="../charts/chart131.xml"/><Relationship Id="rId17" Type="http://schemas.openxmlformats.org/officeDocument/2006/relationships/chart" Target="../charts/chart132.xml"/></Relationships>
</file>

<file path=ppt/slides/_rels/slide12.xml.rels><?xml version='1.0' encoding='UTF-8' standalone='yes'?>
<Relationships xmlns="http://schemas.openxmlformats.org/package/2006/relationships"><Relationship Id="rId1" Type="http://schemas.openxmlformats.org/officeDocument/2006/relationships/tags" Target="../tags/tag39.xml"/><Relationship Id="rId2" Type="http://schemas.openxmlformats.org/officeDocument/2006/relationships/slideLayout" Target="../slideLayouts/slideLayout7.xml"/><Relationship Id="rId3" Type="http://schemas.openxmlformats.org/officeDocument/2006/relationships/notesSlide" Target="../notesSlides/notesSlide1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33.xml"/><Relationship Id="rId7" Type="http://schemas.openxmlformats.org/officeDocument/2006/relationships/chart" Target="../charts/chart134.xml"/><Relationship Id="rId8" Type="http://schemas.openxmlformats.org/officeDocument/2006/relationships/chart" Target="../charts/chart135.xml"/><Relationship Id="rId9" Type="http://schemas.openxmlformats.org/officeDocument/2006/relationships/chart" Target="../charts/chart136.xml"/><Relationship Id="rId10" Type="http://schemas.openxmlformats.org/officeDocument/2006/relationships/chart" Target="../charts/chart137.xml"/><Relationship Id="rId11" Type="http://schemas.openxmlformats.org/officeDocument/2006/relationships/chart" Target="../charts/chart138.xml"/><Relationship Id="rId12" Type="http://schemas.openxmlformats.org/officeDocument/2006/relationships/chart" Target="../charts/chart139.xml"/><Relationship Id="rId13" Type="http://schemas.openxmlformats.org/officeDocument/2006/relationships/chart" Target="../charts/chart140.xml"/><Relationship Id="rId14" Type="http://schemas.openxmlformats.org/officeDocument/2006/relationships/chart" Target="../charts/chart141.xml"/><Relationship Id="rId15" Type="http://schemas.openxmlformats.org/officeDocument/2006/relationships/chart" Target="../charts/chart142.xml"/><Relationship Id="rId16" Type="http://schemas.openxmlformats.org/officeDocument/2006/relationships/chart" Target="../charts/chart143.xml"/><Relationship Id="rId17" Type="http://schemas.openxmlformats.org/officeDocument/2006/relationships/chart" Target="../charts/chart144.xml"/></Relationships>
</file>

<file path=ppt/slides/_rels/slide13.xml.rels><?xml version='1.0' encoding='UTF-8' standalone='yes'?>
<Relationships xmlns="http://schemas.openxmlformats.org/package/2006/relationships"><Relationship Id="rId1" Type="http://schemas.openxmlformats.org/officeDocument/2006/relationships/tags" Target="../tags/tag40.xml"/><Relationship Id="rId2" Type="http://schemas.openxmlformats.org/officeDocument/2006/relationships/slideLayout" Target="../slideLayouts/slideLayout7.xml"/><Relationship Id="rId3" Type="http://schemas.openxmlformats.org/officeDocument/2006/relationships/notesSlide" Target="../notesSlides/notesSlide1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45.xml"/><Relationship Id="rId7" Type="http://schemas.openxmlformats.org/officeDocument/2006/relationships/chart" Target="../charts/chart146.xml"/><Relationship Id="rId8" Type="http://schemas.openxmlformats.org/officeDocument/2006/relationships/chart" Target="../charts/chart147.xml"/><Relationship Id="rId9" Type="http://schemas.openxmlformats.org/officeDocument/2006/relationships/chart" Target="../charts/chart148.xml"/><Relationship Id="rId10" Type="http://schemas.openxmlformats.org/officeDocument/2006/relationships/chart" Target="../charts/chart149.xml"/><Relationship Id="rId11" Type="http://schemas.openxmlformats.org/officeDocument/2006/relationships/chart" Target="../charts/chart150.xml"/><Relationship Id="rId12" Type="http://schemas.openxmlformats.org/officeDocument/2006/relationships/chart" Target="../charts/chart151.xml"/><Relationship Id="rId13" Type="http://schemas.openxmlformats.org/officeDocument/2006/relationships/chart" Target="../charts/chart152.xml"/><Relationship Id="rId14" Type="http://schemas.openxmlformats.org/officeDocument/2006/relationships/chart" Target="../charts/chart153.xml"/><Relationship Id="rId15" Type="http://schemas.openxmlformats.org/officeDocument/2006/relationships/chart" Target="../charts/chart154.xml"/><Relationship Id="rId16" Type="http://schemas.openxmlformats.org/officeDocument/2006/relationships/chart" Target="../charts/chart155.xml"/><Relationship Id="rId17" Type="http://schemas.openxmlformats.org/officeDocument/2006/relationships/chart" Target="../charts/chart156.xml"/></Relationships>
</file>

<file path=ppt/slides/_rels/slide14.xml.rels><?xml version='1.0' encoding='UTF-8' standalone='yes'?>
<Relationships xmlns="http://schemas.openxmlformats.org/package/2006/relationships"><Relationship Id="rId1" Type="http://schemas.openxmlformats.org/officeDocument/2006/relationships/tags" Target="../tags/tag41.xml"/><Relationship Id="rId2" Type="http://schemas.openxmlformats.org/officeDocument/2006/relationships/slideLayout" Target="../slideLayouts/slideLayout7.xml"/><Relationship Id="rId3" Type="http://schemas.openxmlformats.org/officeDocument/2006/relationships/notesSlide" Target="../notesSlides/notesSlide1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57.xml"/><Relationship Id="rId7" Type="http://schemas.openxmlformats.org/officeDocument/2006/relationships/chart" Target="../charts/chart158.xml"/><Relationship Id="rId8" Type="http://schemas.openxmlformats.org/officeDocument/2006/relationships/chart" Target="../charts/chart159.xml"/><Relationship Id="rId9" Type="http://schemas.openxmlformats.org/officeDocument/2006/relationships/chart" Target="../charts/chart160.xml"/><Relationship Id="rId10" Type="http://schemas.openxmlformats.org/officeDocument/2006/relationships/chart" Target="../charts/chart161.xml"/><Relationship Id="rId11" Type="http://schemas.openxmlformats.org/officeDocument/2006/relationships/chart" Target="../charts/chart162.xml"/><Relationship Id="rId12" Type="http://schemas.openxmlformats.org/officeDocument/2006/relationships/chart" Target="../charts/chart163.xml"/><Relationship Id="rId13" Type="http://schemas.openxmlformats.org/officeDocument/2006/relationships/chart" Target="../charts/chart164.xml"/><Relationship Id="rId14" Type="http://schemas.openxmlformats.org/officeDocument/2006/relationships/chart" Target="../charts/chart165.xml"/><Relationship Id="rId15" Type="http://schemas.openxmlformats.org/officeDocument/2006/relationships/chart" Target="../charts/chart166.xml"/><Relationship Id="rId16" Type="http://schemas.openxmlformats.org/officeDocument/2006/relationships/chart" Target="../charts/chart167.xml"/><Relationship Id="rId17" Type="http://schemas.openxmlformats.org/officeDocument/2006/relationships/chart" Target="../charts/chart168.xml"/></Relationships>
</file>

<file path=ppt/slides/_rels/slide15.xml.rels><?xml version='1.0' encoding='UTF-8' standalone='yes'?>
<Relationships xmlns="http://schemas.openxmlformats.org/package/2006/relationships"><Relationship Id="rId1" Type="http://schemas.openxmlformats.org/officeDocument/2006/relationships/tags" Target="../tags/tag42.xml"/><Relationship Id="rId2" Type="http://schemas.openxmlformats.org/officeDocument/2006/relationships/slideLayout" Target="../slideLayouts/slideLayout7.xml"/><Relationship Id="rId3" Type="http://schemas.openxmlformats.org/officeDocument/2006/relationships/notesSlide" Target="../notesSlides/notesSlide1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69.xml"/><Relationship Id="rId7" Type="http://schemas.openxmlformats.org/officeDocument/2006/relationships/chart" Target="../charts/chart170.xml"/><Relationship Id="rId8" Type="http://schemas.openxmlformats.org/officeDocument/2006/relationships/chart" Target="../charts/chart171.xml"/><Relationship Id="rId9" Type="http://schemas.openxmlformats.org/officeDocument/2006/relationships/chart" Target="../charts/chart172.xml"/><Relationship Id="rId10" Type="http://schemas.openxmlformats.org/officeDocument/2006/relationships/chart" Target="../charts/chart173.xml"/><Relationship Id="rId11" Type="http://schemas.openxmlformats.org/officeDocument/2006/relationships/chart" Target="../charts/chart174.xml"/><Relationship Id="rId12" Type="http://schemas.openxmlformats.org/officeDocument/2006/relationships/chart" Target="../charts/chart175.xml"/><Relationship Id="rId13" Type="http://schemas.openxmlformats.org/officeDocument/2006/relationships/chart" Target="../charts/chart176.xml"/><Relationship Id="rId14" Type="http://schemas.openxmlformats.org/officeDocument/2006/relationships/chart" Target="../charts/chart177.xml"/><Relationship Id="rId15" Type="http://schemas.openxmlformats.org/officeDocument/2006/relationships/chart" Target="../charts/chart178.xml"/><Relationship Id="rId16" Type="http://schemas.openxmlformats.org/officeDocument/2006/relationships/chart" Target="../charts/chart179.xml"/><Relationship Id="rId17" Type="http://schemas.openxmlformats.org/officeDocument/2006/relationships/chart" Target="../charts/chart180.xml"/></Relationships>
</file>

<file path=ppt/slides/_rels/slide16.xml.rels><?xml version='1.0' encoding='UTF-8' standalone='yes'?>
<Relationships xmlns="http://schemas.openxmlformats.org/package/2006/relationships"><Relationship Id="rId1" Type="http://schemas.openxmlformats.org/officeDocument/2006/relationships/tags" Target="../tags/tag43.xml"/><Relationship Id="rId2" Type="http://schemas.openxmlformats.org/officeDocument/2006/relationships/slideLayout" Target="../slideLayouts/slideLayout7.xml"/><Relationship Id="rId3" Type="http://schemas.openxmlformats.org/officeDocument/2006/relationships/notesSlide" Target="../notesSlides/notesSlide1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81.xml"/><Relationship Id="rId7" Type="http://schemas.openxmlformats.org/officeDocument/2006/relationships/chart" Target="../charts/chart182.xml"/><Relationship Id="rId8" Type="http://schemas.openxmlformats.org/officeDocument/2006/relationships/chart" Target="../charts/chart183.xml"/><Relationship Id="rId9" Type="http://schemas.openxmlformats.org/officeDocument/2006/relationships/chart" Target="../charts/chart184.xml"/><Relationship Id="rId10" Type="http://schemas.openxmlformats.org/officeDocument/2006/relationships/chart" Target="../charts/chart185.xml"/><Relationship Id="rId11" Type="http://schemas.openxmlformats.org/officeDocument/2006/relationships/chart" Target="../charts/chart186.xml"/><Relationship Id="rId12" Type="http://schemas.openxmlformats.org/officeDocument/2006/relationships/chart" Target="../charts/chart187.xml"/><Relationship Id="rId13" Type="http://schemas.openxmlformats.org/officeDocument/2006/relationships/chart" Target="../charts/chart188.xml"/><Relationship Id="rId14" Type="http://schemas.openxmlformats.org/officeDocument/2006/relationships/chart" Target="../charts/chart189.xml"/><Relationship Id="rId15" Type="http://schemas.openxmlformats.org/officeDocument/2006/relationships/chart" Target="../charts/chart190.xml"/><Relationship Id="rId16" Type="http://schemas.openxmlformats.org/officeDocument/2006/relationships/chart" Target="../charts/chart191.xml"/><Relationship Id="rId17" Type="http://schemas.openxmlformats.org/officeDocument/2006/relationships/chart" Target="../charts/chart192.xml"/></Relationships>
</file>

<file path=ppt/slides/_rels/slide17.xml.rels><?xml version='1.0' encoding='UTF-8' standalone='yes'?>
<Relationships xmlns="http://schemas.openxmlformats.org/package/2006/relationships"><Relationship Id="rId1" Type="http://schemas.openxmlformats.org/officeDocument/2006/relationships/tags" Target="../tags/tag44.xml"/><Relationship Id="rId2" Type="http://schemas.openxmlformats.org/officeDocument/2006/relationships/slideLayout" Target="../slideLayouts/slideLayout7.xml"/><Relationship Id="rId3" Type="http://schemas.openxmlformats.org/officeDocument/2006/relationships/notesSlide" Target="../notesSlides/notesSlide1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93.xml"/><Relationship Id="rId7" Type="http://schemas.openxmlformats.org/officeDocument/2006/relationships/chart" Target="../charts/chart194.xml"/><Relationship Id="rId8" Type="http://schemas.openxmlformats.org/officeDocument/2006/relationships/chart" Target="../charts/chart195.xml"/><Relationship Id="rId9" Type="http://schemas.openxmlformats.org/officeDocument/2006/relationships/chart" Target="../charts/chart196.xml"/><Relationship Id="rId10" Type="http://schemas.openxmlformats.org/officeDocument/2006/relationships/chart" Target="../charts/chart197.xml"/><Relationship Id="rId11" Type="http://schemas.openxmlformats.org/officeDocument/2006/relationships/chart" Target="../charts/chart198.xml"/><Relationship Id="rId12" Type="http://schemas.openxmlformats.org/officeDocument/2006/relationships/chart" Target="../charts/chart199.xml"/><Relationship Id="rId13" Type="http://schemas.openxmlformats.org/officeDocument/2006/relationships/chart" Target="../charts/chart200.xml"/><Relationship Id="rId14" Type="http://schemas.openxmlformats.org/officeDocument/2006/relationships/chart" Target="../charts/chart201.xml"/><Relationship Id="rId15" Type="http://schemas.openxmlformats.org/officeDocument/2006/relationships/chart" Target="../charts/chart202.xml"/><Relationship Id="rId16" Type="http://schemas.openxmlformats.org/officeDocument/2006/relationships/chart" Target="../charts/chart203.xml"/><Relationship Id="rId17" Type="http://schemas.openxmlformats.org/officeDocument/2006/relationships/chart" Target="../charts/chart204.xml"/></Relationships>
</file>

<file path=ppt/slides/_rels/slide18.xml.rels><?xml version='1.0' encoding='UTF-8' standalone='yes'?>
<Relationships xmlns="http://schemas.openxmlformats.org/package/2006/relationships"><Relationship Id="rId1" Type="http://schemas.openxmlformats.org/officeDocument/2006/relationships/tags" Target="../tags/tag45.xml"/><Relationship Id="rId2" Type="http://schemas.openxmlformats.org/officeDocument/2006/relationships/slideLayout" Target="../slideLayouts/slideLayout7.xml"/><Relationship Id="rId3" Type="http://schemas.openxmlformats.org/officeDocument/2006/relationships/notesSlide" Target="../notesSlides/notesSlide1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05.xml"/><Relationship Id="rId7" Type="http://schemas.openxmlformats.org/officeDocument/2006/relationships/chart" Target="../charts/chart206.xml"/><Relationship Id="rId8" Type="http://schemas.openxmlformats.org/officeDocument/2006/relationships/chart" Target="../charts/chart207.xml"/><Relationship Id="rId9" Type="http://schemas.openxmlformats.org/officeDocument/2006/relationships/chart" Target="../charts/chart208.xml"/><Relationship Id="rId10" Type="http://schemas.openxmlformats.org/officeDocument/2006/relationships/chart" Target="../charts/chart209.xml"/><Relationship Id="rId11" Type="http://schemas.openxmlformats.org/officeDocument/2006/relationships/chart" Target="../charts/chart210.xml"/><Relationship Id="rId12" Type="http://schemas.openxmlformats.org/officeDocument/2006/relationships/chart" Target="../charts/chart211.xml"/><Relationship Id="rId13" Type="http://schemas.openxmlformats.org/officeDocument/2006/relationships/chart" Target="../charts/chart212.xml"/><Relationship Id="rId14" Type="http://schemas.openxmlformats.org/officeDocument/2006/relationships/chart" Target="../charts/chart213.xml"/><Relationship Id="rId15" Type="http://schemas.openxmlformats.org/officeDocument/2006/relationships/chart" Target="../charts/chart214.xml"/><Relationship Id="rId16" Type="http://schemas.openxmlformats.org/officeDocument/2006/relationships/chart" Target="../charts/chart215.xml"/><Relationship Id="rId17" Type="http://schemas.openxmlformats.org/officeDocument/2006/relationships/chart" Target="../charts/chart216.xml"/></Relationships>
</file>

<file path=ppt/slides/_rels/slide19.xml.rels><?xml version='1.0' encoding='UTF-8' standalone='yes'?>
<Relationships xmlns="http://schemas.openxmlformats.org/package/2006/relationships"><Relationship Id="rId1" Type="http://schemas.openxmlformats.org/officeDocument/2006/relationships/tags" Target="../tags/tag46.xml"/><Relationship Id="rId2" Type="http://schemas.openxmlformats.org/officeDocument/2006/relationships/slideLayout" Target="../slideLayouts/slideLayout7.xml"/><Relationship Id="rId3" Type="http://schemas.openxmlformats.org/officeDocument/2006/relationships/notesSlide" Target="../notesSlides/notesSlide1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17.xml"/><Relationship Id="rId7" Type="http://schemas.openxmlformats.org/officeDocument/2006/relationships/chart" Target="../charts/chart218.xml"/><Relationship Id="rId8" Type="http://schemas.openxmlformats.org/officeDocument/2006/relationships/chart" Target="../charts/chart219.xml"/><Relationship Id="rId9" Type="http://schemas.openxmlformats.org/officeDocument/2006/relationships/chart" Target="../charts/chart220.xml"/><Relationship Id="rId10" Type="http://schemas.openxmlformats.org/officeDocument/2006/relationships/chart" Target="../charts/chart221.xml"/><Relationship Id="rId11" Type="http://schemas.openxmlformats.org/officeDocument/2006/relationships/chart" Target="../charts/chart222.xml"/><Relationship Id="rId12" Type="http://schemas.openxmlformats.org/officeDocument/2006/relationships/chart" Target="../charts/chart223.xml"/><Relationship Id="rId13" Type="http://schemas.openxmlformats.org/officeDocument/2006/relationships/chart" Target="../charts/chart224.xml"/><Relationship Id="rId14" Type="http://schemas.openxmlformats.org/officeDocument/2006/relationships/chart" Target="../charts/chart225.xml"/><Relationship Id="rId15" Type="http://schemas.openxmlformats.org/officeDocument/2006/relationships/chart" Target="../charts/chart226.xml"/><Relationship Id="rId16" Type="http://schemas.openxmlformats.org/officeDocument/2006/relationships/chart" Target="../charts/chart227.xml"/><Relationship Id="rId17" Type="http://schemas.openxmlformats.org/officeDocument/2006/relationships/chart" Target="../charts/chart228.xml"/></Relationships>
</file>

<file path=ppt/slides/_rels/slide2.xml.rels><?xml version='1.0' encoding='UTF-8' standalone='yes'?>
<Relationships xmlns="http://schemas.openxmlformats.org/package/2006/relationships"><Relationship Id="rId1" Type="http://schemas.openxmlformats.org/officeDocument/2006/relationships/tags" Target="../tags/tag29.xml"/><Relationship Id="rId2" Type="http://schemas.openxmlformats.org/officeDocument/2006/relationships/slideLayout" Target="../slideLayouts/slideLayout7.xml"/><Relationship Id="rId3" Type="http://schemas.openxmlformats.org/officeDocument/2006/relationships/notesSlide" Target="../notesSlides/notesSlide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3.xml"/><Relationship Id="rId7" Type="http://schemas.openxmlformats.org/officeDocument/2006/relationships/chart" Target="../charts/chart14.xml"/><Relationship Id="rId8" Type="http://schemas.openxmlformats.org/officeDocument/2006/relationships/chart" Target="../charts/chart15.xml"/><Relationship Id="rId9" Type="http://schemas.openxmlformats.org/officeDocument/2006/relationships/chart" Target="../charts/chart16.xml"/><Relationship Id="rId10" Type="http://schemas.openxmlformats.org/officeDocument/2006/relationships/chart" Target="../charts/chart17.xml"/><Relationship Id="rId11" Type="http://schemas.openxmlformats.org/officeDocument/2006/relationships/chart" Target="../charts/chart18.xml"/><Relationship Id="rId12" Type="http://schemas.openxmlformats.org/officeDocument/2006/relationships/chart" Target="../charts/chart19.xml"/><Relationship Id="rId13" Type="http://schemas.openxmlformats.org/officeDocument/2006/relationships/chart" Target="../charts/chart20.xml"/><Relationship Id="rId14" Type="http://schemas.openxmlformats.org/officeDocument/2006/relationships/chart" Target="../charts/chart21.xml"/><Relationship Id="rId15" Type="http://schemas.openxmlformats.org/officeDocument/2006/relationships/chart" Target="../charts/chart22.xml"/><Relationship Id="rId16" Type="http://schemas.openxmlformats.org/officeDocument/2006/relationships/chart" Target="../charts/chart23.xml"/><Relationship Id="rId17" Type="http://schemas.openxmlformats.org/officeDocument/2006/relationships/chart" Target="../charts/chart24.xml"/></Relationships>
</file>

<file path=ppt/slides/_rels/slide20.xml.rels><?xml version='1.0' encoding='UTF-8' standalone='yes'?>
<Relationships xmlns="http://schemas.openxmlformats.org/package/2006/relationships"><Relationship Id="rId1" Type="http://schemas.openxmlformats.org/officeDocument/2006/relationships/tags" Target="../tags/tag47.xml"/><Relationship Id="rId2" Type="http://schemas.openxmlformats.org/officeDocument/2006/relationships/slideLayout" Target="../slideLayouts/slideLayout7.xml"/><Relationship Id="rId3" Type="http://schemas.openxmlformats.org/officeDocument/2006/relationships/notesSlide" Target="../notesSlides/notesSlide2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29.xml"/><Relationship Id="rId7" Type="http://schemas.openxmlformats.org/officeDocument/2006/relationships/chart" Target="../charts/chart230.xml"/><Relationship Id="rId8" Type="http://schemas.openxmlformats.org/officeDocument/2006/relationships/chart" Target="../charts/chart231.xml"/><Relationship Id="rId9" Type="http://schemas.openxmlformats.org/officeDocument/2006/relationships/chart" Target="../charts/chart232.xml"/><Relationship Id="rId10" Type="http://schemas.openxmlformats.org/officeDocument/2006/relationships/chart" Target="../charts/chart233.xml"/><Relationship Id="rId11" Type="http://schemas.openxmlformats.org/officeDocument/2006/relationships/chart" Target="../charts/chart234.xml"/><Relationship Id="rId12" Type="http://schemas.openxmlformats.org/officeDocument/2006/relationships/chart" Target="../charts/chart235.xml"/><Relationship Id="rId13" Type="http://schemas.openxmlformats.org/officeDocument/2006/relationships/chart" Target="../charts/chart236.xml"/><Relationship Id="rId14" Type="http://schemas.openxmlformats.org/officeDocument/2006/relationships/chart" Target="../charts/chart237.xml"/><Relationship Id="rId15" Type="http://schemas.openxmlformats.org/officeDocument/2006/relationships/chart" Target="../charts/chart238.xml"/><Relationship Id="rId16" Type="http://schemas.openxmlformats.org/officeDocument/2006/relationships/chart" Target="../charts/chart239.xml"/><Relationship Id="rId17" Type="http://schemas.openxmlformats.org/officeDocument/2006/relationships/chart" Target="../charts/chart240.xml"/></Relationships>
</file>

<file path=ppt/slides/_rels/slide21.xml.rels><?xml version='1.0' encoding='UTF-8' standalone='yes'?>
<Relationships xmlns="http://schemas.openxmlformats.org/package/2006/relationships"><Relationship Id="rId1" Type="http://schemas.openxmlformats.org/officeDocument/2006/relationships/tags" Target="../tags/tag48.xml"/><Relationship Id="rId2" Type="http://schemas.openxmlformats.org/officeDocument/2006/relationships/slideLayout" Target="../slideLayouts/slideLayout7.xml"/><Relationship Id="rId3" Type="http://schemas.openxmlformats.org/officeDocument/2006/relationships/notesSlide" Target="../notesSlides/notesSlide2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41.xml"/><Relationship Id="rId7" Type="http://schemas.openxmlformats.org/officeDocument/2006/relationships/chart" Target="../charts/chart242.xml"/><Relationship Id="rId8" Type="http://schemas.openxmlformats.org/officeDocument/2006/relationships/chart" Target="../charts/chart243.xml"/><Relationship Id="rId9" Type="http://schemas.openxmlformats.org/officeDocument/2006/relationships/chart" Target="../charts/chart244.xml"/><Relationship Id="rId10" Type="http://schemas.openxmlformats.org/officeDocument/2006/relationships/chart" Target="../charts/chart245.xml"/><Relationship Id="rId11" Type="http://schemas.openxmlformats.org/officeDocument/2006/relationships/chart" Target="../charts/chart246.xml"/><Relationship Id="rId12" Type="http://schemas.openxmlformats.org/officeDocument/2006/relationships/chart" Target="../charts/chart247.xml"/><Relationship Id="rId13" Type="http://schemas.openxmlformats.org/officeDocument/2006/relationships/chart" Target="../charts/chart248.xml"/><Relationship Id="rId14" Type="http://schemas.openxmlformats.org/officeDocument/2006/relationships/chart" Target="../charts/chart249.xml"/><Relationship Id="rId15" Type="http://schemas.openxmlformats.org/officeDocument/2006/relationships/chart" Target="../charts/chart250.xml"/><Relationship Id="rId16" Type="http://schemas.openxmlformats.org/officeDocument/2006/relationships/chart" Target="../charts/chart251.xml"/><Relationship Id="rId17" Type="http://schemas.openxmlformats.org/officeDocument/2006/relationships/chart" Target="../charts/chart252.xml"/></Relationships>
</file>

<file path=ppt/slides/_rels/slide22.xml.rels><?xml version='1.0' encoding='UTF-8' standalone='yes'?>
<Relationships xmlns="http://schemas.openxmlformats.org/package/2006/relationships"><Relationship Id="rId1" Type="http://schemas.openxmlformats.org/officeDocument/2006/relationships/tags" Target="../tags/tag49.xml"/><Relationship Id="rId2" Type="http://schemas.openxmlformats.org/officeDocument/2006/relationships/slideLayout" Target="../slideLayouts/slideLayout7.xml"/><Relationship Id="rId3" Type="http://schemas.openxmlformats.org/officeDocument/2006/relationships/notesSlide" Target="../notesSlides/notesSlide2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53.xml"/><Relationship Id="rId7" Type="http://schemas.openxmlformats.org/officeDocument/2006/relationships/chart" Target="../charts/chart254.xml"/><Relationship Id="rId8" Type="http://schemas.openxmlformats.org/officeDocument/2006/relationships/chart" Target="../charts/chart255.xml"/><Relationship Id="rId9" Type="http://schemas.openxmlformats.org/officeDocument/2006/relationships/chart" Target="../charts/chart256.xml"/><Relationship Id="rId10" Type="http://schemas.openxmlformats.org/officeDocument/2006/relationships/chart" Target="../charts/chart257.xml"/><Relationship Id="rId11" Type="http://schemas.openxmlformats.org/officeDocument/2006/relationships/chart" Target="../charts/chart258.xml"/><Relationship Id="rId12" Type="http://schemas.openxmlformats.org/officeDocument/2006/relationships/chart" Target="../charts/chart259.xml"/><Relationship Id="rId13" Type="http://schemas.openxmlformats.org/officeDocument/2006/relationships/chart" Target="../charts/chart260.xml"/><Relationship Id="rId14" Type="http://schemas.openxmlformats.org/officeDocument/2006/relationships/chart" Target="../charts/chart261.xml"/><Relationship Id="rId15" Type="http://schemas.openxmlformats.org/officeDocument/2006/relationships/chart" Target="../charts/chart262.xml"/><Relationship Id="rId16" Type="http://schemas.openxmlformats.org/officeDocument/2006/relationships/chart" Target="../charts/chart263.xml"/><Relationship Id="rId17" Type="http://schemas.openxmlformats.org/officeDocument/2006/relationships/chart" Target="../charts/chart264.xml"/></Relationships>
</file>

<file path=ppt/slides/_rels/slide23.xml.rels><?xml version='1.0' encoding='UTF-8' standalone='yes'?>
<Relationships xmlns="http://schemas.openxmlformats.org/package/2006/relationships"><Relationship Id="rId1" Type="http://schemas.openxmlformats.org/officeDocument/2006/relationships/tags" Target="../tags/tag50.xml"/><Relationship Id="rId2" Type="http://schemas.openxmlformats.org/officeDocument/2006/relationships/slideLayout" Target="../slideLayouts/slideLayout7.xml"/><Relationship Id="rId3" Type="http://schemas.openxmlformats.org/officeDocument/2006/relationships/notesSlide" Target="../notesSlides/notesSlide2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65.xml"/><Relationship Id="rId7" Type="http://schemas.openxmlformats.org/officeDocument/2006/relationships/chart" Target="../charts/chart266.xml"/><Relationship Id="rId8" Type="http://schemas.openxmlformats.org/officeDocument/2006/relationships/chart" Target="../charts/chart267.xml"/><Relationship Id="rId9" Type="http://schemas.openxmlformats.org/officeDocument/2006/relationships/chart" Target="../charts/chart268.xml"/><Relationship Id="rId10" Type="http://schemas.openxmlformats.org/officeDocument/2006/relationships/chart" Target="../charts/chart269.xml"/><Relationship Id="rId11" Type="http://schemas.openxmlformats.org/officeDocument/2006/relationships/chart" Target="../charts/chart270.xml"/><Relationship Id="rId12" Type="http://schemas.openxmlformats.org/officeDocument/2006/relationships/chart" Target="../charts/chart271.xml"/><Relationship Id="rId13" Type="http://schemas.openxmlformats.org/officeDocument/2006/relationships/chart" Target="../charts/chart272.xml"/><Relationship Id="rId14" Type="http://schemas.openxmlformats.org/officeDocument/2006/relationships/chart" Target="../charts/chart273.xml"/><Relationship Id="rId15" Type="http://schemas.openxmlformats.org/officeDocument/2006/relationships/chart" Target="../charts/chart274.xml"/><Relationship Id="rId16" Type="http://schemas.openxmlformats.org/officeDocument/2006/relationships/chart" Target="../charts/chart275.xml"/><Relationship Id="rId17" Type="http://schemas.openxmlformats.org/officeDocument/2006/relationships/chart" Target="../charts/chart276.xml"/></Relationships>
</file>

<file path=ppt/slides/_rels/slide24.xml.rels><?xml version='1.0' encoding='UTF-8' standalone='yes'?>
<Relationships xmlns="http://schemas.openxmlformats.org/package/2006/relationships"><Relationship Id="rId1" Type="http://schemas.openxmlformats.org/officeDocument/2006/relationships/tags" Target="../tags/tag51.xml"/><Relationship Id="rId2" Type="http://schemas.openxmlformats.org/officeDocument/2006/relationships/slideLayout" Target="../slideLayouts/slideLayout7.xml"/><Relationship Id="rId3" Type="http://schemas.openxmlformats.org/officeDocument/2006/relationships/notesSlide" Target="../notesSlides/notesSlide2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77.xml"/><Relationship Id="rId7" Type="http://schemas.openxmlformats.org/officeDocument/2006/relationships/chart" Target="../charts/chart278.xml"/><Relationship Id="rId8" Type="http://schemas.openxmlformats.org/officeDocument/2006/relationships/chart" Target="../charts/chart279.xml"/><Relationship Id="rId9" Type="http://schemas.openxmlformats.org/officeDocument/2006/relationships/chart" Target="../charts/chart280.xml"/><Relationship Id="rId10" Type="http://schemas.openxmlformats.org/officeDocument/2006/relationships/chart" Target="../charts/chart281.xml"/><Relationship Id="rId11" Type="http://schemas.openxmlformats.org/officeDocument/2006/relationships/chart" Target="../charts/chart282.xml"/><Relationship Id="rId12" Type="http://schemas.openxmlformats.org/officeDocument/2006/relationships/chart" Target="../charts/chart283.xml"/><Relationship Id="rId13" Type="http://schemas.openxmlformats.org/officeDocument/2006/relationships/chart" Target="../charts/chart284.xml"/><Relationship Id="rId14" Type="http://schemas.openxmlformats.org/officeDocument/2006/relationships/chart" Target="../charts/chart285.xml"/><Relationship Id="rId15" Type="http://schemas.openxmlformats.org/officeDocument/2006/relationships/chart" Target="../charts/chart286.xml"/><Relationship Id="rId16" Type="http://schemas.openxmlformats.org/officeDocument/2006/relationships/chart" Target="../charts/chart287.xml"/><Relationship Id="rId17" Type="http://schemas.openxmlformats.org/officeDocument/2006/relationships/chart" Target="../charts/chart288.xml"/></Relationships>
</file>

<file path=ppt/slides/_rels/slide25.xml.rels><?xml version='1.0' encoding='UTF-8' standalone='yes'?>
<Relationships xmlns="http://schemas.openxmlformats.org/package/2006/relationships"><Relationship Id="rId1" Type="http://schemas.openxmlformats.org/officeDocument/2006/relationships/tags" Target="../tags/tag52.xml"/><Relationship Id="rId2" Type="http://schemas.openxmlformats.org/officeDocument/2006/relationships/slideLayout" Target="../slideLayouts/slideLayout7.xml"/><Relationship Id="rId3" Type="http://schemas.openxmlformats.org/officeDocument/2006/relationships/notesSlide" Target="../notesSlides/notesSlide2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89.xml"/><Relationship Id="rId7" Type="http://schemas.openxmlformats.org/officeDocument/2006/relationships/chart" Target="../charts/chart290.xml"/><Relationship Id="rId8" Type="http://schemas.openxmlformats.org/officeDocument/2006/relationships/chart" Target="../charts/chart291.xml"/><Relationship Id="rId9" Type="http://schemas.openxmlformats.org/officeDocument/2006/relationships/chart" Target="../charts/chart292.xml"/><Relationship Id="rId10" Type="http://schemas.openxmlformats.org/officeDocument/2006/relationships/chart" Target="../charts/chart293.xml"/><Relationship Id="rId11" Type="http://schemas.openxmlformats.org/officeDocument/2006/relationships/chart" Target="../charts/chart294.xml"/><Relationship Id="rId12" Type="http://schemas.openxmlformats.org/officeDocument/2006/relationships/chart" Target="../charts/chart295.xml"/><Relationship Id="rId13" Type="http://schemas.openxmlformats.org/officeDocument/2006/relationships/chart" Target="../charts/chart296.xml"/><Relationship Id="rId14" Type="http://schemas.openxmlformats.org/officeDocument/2006/relationships/chart" Target="../charts/chart297.xml"/><Relationship Id="rId15" Type="http://schemas.openxmlformats.org/officeDocument/2006/relationships/chart" Target="../charts/chart298.xml"/><Relationship Id="rId16" Type="http://schemas.openxmlformats.org/officeDocument/2006/relationships/chart" Target="../charts/chart299.xml"/><Relationship Id="rId17" Type="http://schemas.openxmlformats.org/officeDocument/2006/relationships/chart" Target="../charts/chart300.xml"/></Relationships>
</file>

<file path=ppt/slides/_rels/slide26.xml.rels><?xml version='1.0' encoding='UTF-8' standalone='yes'?>
<Relationships xmlns="http://schemas.openxmlformats.org/package/2006/relationships"><Relationship Id="rId1" Type="http://schemas.openxmlformats.org/officeDocument/2006/relationships/tags" Target="../tags/tag53.xml"/><Relationship Id="rId2" Type="http://schemas.openxmlformats.org/officeDocument/2006/relationships/slideLayout" Target="../slideLayouts/slideLayout7.xml"/><Relationship Id="rId3" Type="http://schemas.openxmlformats.org/officeDocument/2006/relationships/notesSlide" Target="../notesSlides/notesSlide2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01.xml"/><Relationship Id="rId7" Type="http://schemas.openxmlformats.org/officeDocument/2006/relationships/chart" Target="../charts/chart302.xml"/><Relationship Id="rId8" Type="http://schemas.openxmlformats.org/officeDocument/2006/relationships/chart" Target="../charts/chart303.xml"/><Relationship Id="rId9" Type="http://schemas.openxmlformats.org/officeDocument/2006/relationships/chart" Target="../charts/chart304.xml"/><Relationship Id="rId10" Type="http://schemas.openxmlformats.org/officeDocument/2006/relationships/chart" Target="../charts/chart305.xml"/><Relationship Id="rId11" Type="http://schemas.openxmlformats.org/officeDocument/2006/relationships/chart" Target="../charts/chart306.xml"/><Relationship Id="rId12" Type="http://schemas.openxmlformats.org/officeDocument/2006/relationships/chart" Target="../charts/chart307.xml"/><Relationship Id="rId13" Type="http://schemas.openxmlformats.org/officeDocument/2006/relationships/chart" Target="../charts/chart308.xml"/><Relationship Id="rId14" Type="http://schemas.openxmlformats.org/officeDocument/2006/relationships/chart" Target="../charts/chart309.xml"/><Relationship Id="rId15" Type="http://schemas.openxmlformats.org/officeDocument/2006/relationships/chart" Target="../charts/chart310.xml"/><Relationship Id="rId16" Type="http://schemas.openxmlformats.org/officeDocument/2006/relationships/chart" Target="../charts/chart311.xml"/><Relationship Id="rId17" Type="http://schemas.openxmlformats.org/officeDocument/2006/relationships/chart" Target="../charts/chart312.xml"/></Relationships>
</file>

<file path=ppt/slides/_rels/slide27.xml.rels><?xml version='1.0' encoding='UTF-8' standalone='yes'?>
<Relationships xmlns="http://schemas.openxmlformats.org/package/2006/relationships"><Relationship Id="rId1" Type="http://schemas.openxmlformats.org/officeDocument/2006/relationships/tags" Target="../tags/tag54.xml"/><Relationship Id="rId2" Type="http://schemas.openxmlformats.org/officeDocument/2006/relationships/slideLayout" Target="../slideLayouts/slideLayout7.xml"/><Relationship Id="rId3" Type="http://schemas.openxmlformats.org/officeDocument/2006/relationships/notesSlide" Target="../notesSlides/notesSlide2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13.xml"/><Relationship Id="rId7" Type="http://schemas.openxmlformats.org/officeDocument/2006/relationships/chart" Target="../charts/chart314.xml"/><Relationship Id="rId8" Type="http://schemas.openxmlformats.org/officeDocument/2006/relationships/chart" Target="../charts/chart315.xml"/><Relationship Id="rId9" Type="http://schemas.openxmlformats.org/officeDocument/2006/relationships/chart" Target="../charts/chart316.xml"/><Relationship Id="rId10" Type="http://schemas.openxmlformats.org/officeDocument/2006/relationships/chart" Target="../charts/chart317.xml"/><Relationship Id="rId11" Type="http://schemas.openxmlformats.org/officeDocument/2006/relationships/chart" Target="../charts/chart318.xml"/><Relationship Id="rId12" Type="http://schemas.openxmlformats.org/officeDocument/2006/relationships/chart" Target="../charts/chart319.xml"/><Relationship Id="rId13" Type="http://schemas.openxmlformats.org/officeDocument/2006/relationships/chart" Target="../charts/chart320.xml"/><Relationship Id="rId14" Type="http://schemas.openxmlformats.org/officeDocument/2006/relationships/chart" Target="../charts/chart321.xml"/><Relationship Id="rId15" Type="http://schemas.openxmlformats.org/officeDocument/2006/relationships/chart" Target="../charts/chart322.xml"/><Relationship Id="rId16" Type="http://schemas.openxmlformats.org/officeDocument/2006/relationships/chart" Target="../charts/chart323.xml"/><Relationship Id="rId17" Type="http://schemas.openxmlformats.org/officeDocument/2006/relationships/chart" Target="../charts/chart324.xml"/></Relationships>
</file>

<file path=ppt/slides/_rels/slide3.xml.rels><?xml version='1.0' encoding='UTF-8' standalone='yes'?>
<Relationships xmlns="http://schemas.openxmlformats.org/package/2006/relationships"><Relationship Id="rId1" Type="http://schemas.openxmlformats.org/officeDocument/2006/relationships/tags" Target="../tags/tag30.xml"/><Relationship Id="rId2" Type="http://schemas.openxmlformats.org/officeDocument/2006/relationships/slideLayout" Target="../slideLayouts/slideLayout7.xml"/><Relationship Id="rId3" Type="http://schemas.openxmlformats.org/officeDocument/2006/relationships/notesSlide" Target="../notesSlides/notesSlide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5.xml"/><Relationship Id="rId7" Type="http://schemas.openxmlformats.org/officeDocument/2006/relationships/chart" Target="../charts/chart26.xml"/><Relationship Id="rId8" Type="http://schemas.openxmlformats.org/officeDocument/2006/relationships/chart" Target="../charts/chart27.xml"/><Relationship Id="rId9" Type="http://schemas.openxmlformats.org/officeDocument/2006/relationships/chart" Target="../charts/chart28.xml"/><Relationship Id="rId10" Type="http://schemas.openxmlformats.org/officeDocument/2006/relationships/chart" Target="../charts/chart29.xml"/><Relationship Id="rId11" Type="http://schemas.openxmlformats.org/officeDocument/2006/relationships/chart" Target="../charts/chart30.xml"/><Relationship Id="rId12" Type="http://schemas.openxmlformats.org/officeDocument/2006/relationships/chart" Target="../charts/chart31.xml"/><Relationship Id="rId13" Type="http://schemas.openxmlformats.org/officeDocument/2006/relationships/chart" Target="../charts/chart32.xml"/><Relationship Id="rId14" Type="http://schemas.openxmlformats.org/officeDocument/2006/relationships/chart" Target="../charts/chart33.xml"/><Relationship Id="rId15" Type="http://schemas.openxmlformats.org/officeDocument/2006/relationships/chart" Target="../charts/chart34.xml"/><Relationship Id="rId16" Type="http://schemas.openxmlformats.org/officeDocument/2006/relationships/chart" Target="../charts/chart35.xml"/><Relationship Id="rId17" Type="http://schemas.openxmlformats.org/officeDocument/2006/relationships/chart" Target="../charts/chart36.xml"/></Relationships>
</file>

<file path=ppt/slides/_rels/slide4.xml.rels><?xml version='1.0' encoding='UTF-8' standalone='yes'?>
<Relationships xmlns="http://schemas.openxmlformats.org/package/2006/relationships"><Relationship Id="rId1" Type="http://schemas.openxmlformats.org/officeDocument/2006/relationships/tags" Target="../tags/tag31.xml"/><Relationship Id="rId2" Type="http://schemas.openxmlformats.org/officeDocument/2006/relationships/slideLayout" Target="../slideLayouts/slideLayout7.xml"/><Relationship Id="rId3" Type="http://schemas.openxmlformats.org/officeDocument/2006/relationships/notesSlide" Target="../notesSlides/notesSlide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7.xml"/><Relationship Id="rId7" Type="http://schemas.openxmlformats.org/officeDocument/2006/relationships/chart" Target="../charts/chart38.xml"/><Relationship Id="rId8" Type="http://schemas.openxmlformats.org/officeDocument/2006/relationships/chart" Target="../charts/chart39.xml"/><Relationship Id="rId9" Type="http://schemas.openxmlformats.org/officeDocument/2006/relationships/chart" Target="../charts/chart40.xml"/><Relationship Id="rId10" Type="http://schemas.openxmlformats.org/officeDocument/2006/relationships/chart" Target="../charts/chart41.xml"/><Relationship Id="rId11" Type="http://schemas.openxmlformats.org/officeDocument/2006/relationships/chart" Target="../charts/chart42.xml"/><Relationship Id="rId12" Type="http://schemas.openxmlformats.org/officeDocument/2006/relationships/chart" Target="../charts/chart43.xml"/><Relationship Id="rId13" Type="http://schemas.openxmlformats.org/officeDocument/2006/relationships/chart" Target="../charts/chart44.xml"/><Relationship Id="rId14" Type="http://schemas.openxmlformats.org/officeDocument/2006/relationships/chart" Target="../charts/chart45.xml"/><Relationship Id="rId15" Type="http://schemas.openxmlformats.org/officeDocument/2006/relationships/chart" Target="../charts/chart46.xml"/><Relationship Id="rId16" Type="http://schemas.openxmlformats.org/officeDocument/2006/relationships/chart" Target="../charts/chart47.xml"/><Relationship Id="rId17" Type="http://schemas.openxmlformats.org/officeDocument/2006/relationships/chart" Target="../charts/chart48.xml"/></Relationships>
</file>

<file path=ppt/slides/_rels/slide5.xml.rels><?xml version='1.0' encoding='UTF-8' standalone='yes'?>
<Relationships xmlns="http://schemas.openxmlformats.org/package/2006/relationships"><Relationship Id="rId1" Type="http://schemas.openxmlformats.org/officeDocument/2006/relationships/tags" Target="../tags/tag32.xml"/><Relationship Id="rId2" Type="http://schemas.openxmlformats.org/officeDocument/2006/relationships/slideLayout" Target="../slideLayouts/slideLayout7.xml"/><Relationship Id="rId3" Type="http://schemas.openxmlformats.org/officeDocument/2006/relationships/notesSlide" Target="../notesSlides/notesSlide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9.xml"/><Relationship Id="rId7" Type="http://schemas.openxmlformats.org/officeDocument/2006/relationships/chart" Target="../charts/chart50.xml"/><Relationship Id="rId8" Type="http://schemas.openxmlformats.org/officeDocument/2006/relationships/chart" Target="../charts/chart51.xml"/><Relationship Id="rId9" Type="http://schemas.openxmlformats.org/officeDocument/2006/relationships/chart" Target="../charts/chart52.xml"/><Relationship Id="rId10" Type="http://schemas.openxmlformats.org/officeDocument/2006/relationships/chart" Target="../charts/chart53.xml"/><Relationship Id="rId11" Type="http://schemas.openxmlformats.org/officeDocument/2006/relationships/chart" Target="../charts/chart54.xml"/><Relationship Id="rId12" Type="http://schemas.openxmlformats.org/officeDocument/2006/relationships/chart" Target="../charts/chart55.xml"/><Relationship Id="rId13" Type="http://schemas.openxmlformats.org/officeDocument/2006/relationships/chart" Target="../charts/chart56.xml"/><Relationship Id="rId14" Type="http://schemas.openxmlformats.org/officeDocument/2006/relationships/chart" Target="../charts/chart57.xml"/><Relationship Id="rId15" Type="http://schemas.openxmlformats.org/officeDocument/2006/relationships/chart" Target="../charts/chart58.xml"/><Relationship Id="rId16" Type="http://schemas.openxmlformats.org/officeDocument/2006/relationships/chart" Target="../charts/chart59.xml"/><Relationship Id="rId17" Type="http://schemas.openxmlformats.org/officeDocument/2006/relationships/chart" Target="../charts/chart60.xml"/></Relationships>
</file>

<file path=ppt/slides/_rels/slide6.xml.rels><?xml version='1.0' encoding='UTF-8' standalone='yes'?>
<Relationships xmlns="http://schemas.openxmlformats.org/package/2006/relationships"><Relationship Id="rId1" Type="http://schemas.openxmlformats.org/officeDocument/2006/relationships/tags" Target="../tags/tag33.xml"/><Relationship Id="rId2" Type="http://schemas.openxmlformats.org/officeDocument/2006/relationships/slideLayout" Target="../slideLayouts/slideLayout7.xml"/><Relationship Id="rId3" Type="http://schemas.openxmlformats.org/officeDocument/2006/relationships/notesSlide" Target="../notesSlides/notesSlide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61.xml"/><Relationship Id="rId7" Type="http://schemas.openxmlformats.org/officeDocument/2006/relationships/chart" Target="../charts/chart62.xml"/><Relationship Id="rId8" Type="http://schemas.openxmlformats.org/officeDocument/2006/relationships/chart" Target="../charts/chart63.xml"/><Relationship Id="rId9" Type="http://schemas.openxmlformats.org/officeDocument/2006/relationships/chart" Target="../charts/chart64.xml"/><Relationship Id="rId10" Type="http://schemas.openxmlformats.org/officeDocument/2006/relationships/chart" Target="../charts/chart65.xml"/><Relationship Id="rId11" Type="http://schemas.openxmlformats.org/officeDocument/2006/relationships/chart" Target="../charts/chart66.xml"/><Relationship Id="rId12" Type="http://schemas.openxmlformats.org/officeDocument/2006/relationships/chart" Target="../charts/chart67.xml"/><Relationship Id="rId13" Type="http://schemas.openxmlformats.org/officeDocument/2006/relationships/chart" Target="../charts/chart68.xml"/><Relationship Id="rId14" Type="http://schemas.openxmlformats.org/officeDocument/2006/relationships/chart" Target="../charts/chart69.xml"/><Relationship Id="rId15" Type="http://schemas.openxmlformats.org/officeDocument/2006/relationships/chart" Target="../charts/chart70.xml"/><Relationship Id="rId16" Type="http://schemas.openxmlformats.org/officeDocument/2006/relationships/chart" Target="../charts/chart71.xml"/><Relationship Id="rId17" Type="http://schemas.openxmlformats.org/officeDocument/2006/relationships/chart" Target="../charts/chart72.xml"/></Relationships>
</file>

<file path=ppt/slides/_rels/slide7.xml.rels><?xml version='1.0' encoding='UTF-8' standalone='yes'?>
<Relationships xmlns="http://schemas.openxmlformats.org/package/2006/relationships"><Relationship Id="rId1" Type="http://schemas.openxmlformats.org/officeDocument/2006/relationships/tags" Target="../tags/tag34.xml"/><Relationship Id="rId2" Type="http://schemas.openxmlformats.org/officeDocument/2006/relationships/slideLayout" Target="../slideLayouts/slideLayout7.xml"/><Relationship Id="rId3" Type="http://schemas.openxmlformats.org/officeDocument/2006/relationships/notesSlide" Target="../notesSlides/notesSlide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73.xml"/><Relationship Id="rId7" Type="http://schemas.openxmlformats.org/officeDocument/2006/relationships/chart" Target="../charts/chart74.xml"/><Relationship Id="rId8" Type="http://schemas.openxmlformats.org/officeDocument/2006/relationships/chart" Target="../charts/chart75.xml"/><Relationship Id="rId9" Type="http://schemas.openxmlformats.org/officeDocument/2006/relationships/chart" Target="../charts/chart76.xml"/><Relationship Id="rId10" Type="http://schemas.openxmlformats.org/officeDocument/2006/relationships/chart" Target="../charts/chart77.xml"/><Relationship Id="rId11" Type="http://schemas.openxmlformats.org/officeDocument/2006/relationships/chart" Target="../charts/chart78.xml"/><Relationship Id="rId12" Type="http://schemas.openxmlformats.org/officeDocument/2006/relationships/chart" Target="../charts/chart79.xml"/><Relationship Id="rId13" Type="http://schemas.openxmlformats.org/officeDocument/2006/relationships/chart" Target="../charts/chart80.xml"/><Relationship Id="rId14" Type="http://schemas.openxmlformats.org/officeDocument/2006/relationships/chart" Target="../charts/chart81.xml"/><Relationship Id="rId15" Type="http://schemas.openxmlformats.org/officeDocument/2006/relationships/chart" Target="../charts/chart82.xml"/><Relationship Id="rId16" Type="http://schemas.openxmlformats.org/officeDocument/2006/relationships/chart" Target="../charts/chart83.xml"/><Relationship Id="rId17" Type="http://schemas.openxmlformats.org/officeDocument/2006/relationships/chart" Target="../charts/chart84.xml"/></Relationships>
</file>

<file path=ppt/slides/_rels/slide8.xml.rels><?xml version='1.0' encoding='UTF-8' standalone='yes'?>
<Relationships xmlns="http://schemas.openxmlformats.org/package/2006/relationships"><Relationship Id="rId1" Type="http://schemas.openxmlformats.org/officeDocument/2006/relationships/tags" Target="../tags/tag35.xml"/><Relationship Id="rId2" Type="http://schemas.openxmlformats.org/officeDocument/2006/relationships/slideLayout" Target="../slideLayouts/slideLayout7.xml"/><Relationship Id="rId3" Type="http://schemas.openxmlformats.org/officeDocument/2006/relationships/notesSlide" Target="../notesSlides/notesSlide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85.xml"/><Relationship Id="rId7" Type="http://schemas.openxmlformats.org/officeDocument/2006/relationships/chart" Target="../charts/chart86.xml"/><Relationship Id="rId8" Type="http://schemas.openxmlformats.org/officeDocument/2006/relationships/chart" Target="../charts/chart87.xml"/><Relationship Id="rId9" Type="http://schemas.openxmlformats.org/officeDocument/2006/relationships/chart" Target="../charts/chart88.xml"/><Relationship Id="rId10" Type="http://schemas.openxmlformats.org/officeDocument/2006/relationships/chart" Target="../charts/chart89.xml"/><Relationship Id="rId11" Type="http://schemas.openxmlformats.org/officeDocument/2006/relationships/chart" Target="../charts/chart90.xml"/><Relationship Id="rId12" Type="http://schemas.openxmlformats.org/officeDocument/2006/relationships/chart" Target="../charts/chart91.xml"/><Relationship Id="rId13" Type="http://schemas.openxmlformats.org/officeDocument/2006/relationships/chart" Target="../charts/chart92.xml"/><Relationship Id="rId14" Type="http://schemas.openxmlformats.org/officeDocument/2006/relationships/chart" Target="../charts/chart93.xml"/><Relationship Id="rId15" Type="http://schemas.openxmlformats.org/officeDocument/2006/relationships/chart" Target="../charts/chart94.xml"/><Relationship Id="rId16" Type="http://schemas.openxmlformats.org/officeDocument/2006/relationships/chart" Target="../charts/chart95.xml"/><Relationship Id="rId17" Type="http://schemas.openxmlformats.org/officeDocument/2006/relationships/chart" Target="../charts/chart96.xml"/></Relationships>
</file>

<file path=ppt/slides/_rels/slide9.xml.rels><?xml version='1.0' encoding='UTF-8' standalone='yes'?>
<Relationships xmlns="http://schemas.openxmlformats.org/package/2006/relationships"><Relationship Id="rId1" Type="http://schemas.openxmlformats.org/officeDocument/2006/relationships/tags" Target="../tags/tag36.xml"/><Relationship Id="rId2" Type="http://schemas.openxmlformats.org/officeDocument/2006/relationships/slideLayout" Target="../slideLayouts/slideLayout7.xml"/><Relationship Id="rId3" Type="http://schemas.openxmlformats.org/officeDocument/2006/relationships/notesSlide" Target="../notesSlides/notesSlide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97.xml"/><Relationship Id="rId7" Type="http://schemas.openxmlformats.org/officeDocument/2006/relationships/chart" Target="../charts/chart98.xml"/><Relationship Id="rId8" Type="http://schemas.openxmlformats.org/officeDocument/2006/relationships/chart" Target="../charts/chart99.xml"/><Relationship Id="rId9" Type="http://schemas.openxmlformats.org/officeDocument/2006/relationships/chart" Target="../charts/chart100.xml"/><Relationship Id="rId10" Type="http://schemas.openxmlformats.org/officeDocument/2006/relationships/chart" Target="../charts/chart101.xml"/><Relationship Id="rId11" Type="http://schemas.openxmlformats.org/officeDocument/2006/relationships/chart" Target="../charts/chart102.xml"/><Relationship Id="rId12" Type="http://schemas.openxmlformats.org/officeDocument/2006/relationships/chart" Target="../charts/chart103.xml"/><Relationship Id="rId13" Type="http://schemas.openxmlformats.org/officeDocument/2006/relationships/chart" Target="../charts/chart104.xml"/><Relationship Id="rId14" Type="http://schemas.openxmlformats.org/officeDocument/2006/relationships/chart" Target="../charts/chart105.xml"/><Relationship Id="rId15" Type="http://schemas.openxmlformats.org/officeDocument/2006/relationships/chart" Target="../charts/chart106.xml"/><Relationship Id="rId16" Type="http://schemas.openxmlformats.org/officeDocument/2006/relationships/chart" Target="../charts/chart107.xml"/><Relationship Id="rId17" Type="http://schemas.openxmlformats.org/officeDocument/2006/relationships/chart" Target="../charts/chart10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34"/>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73366">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3366">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3366">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73366">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r>
                        <a:rPr lang="en-US" sz="800" b="1" i="0" u="none" strike="noStrike" dirty="0">
                          <a:solidFill>
                            <a:srgbClr val="00A097"/>
                          </a:solidFill>
                          <a:effectLst/>
                          <a:latin typeface="Nexa Book" panose="00000400000000000000" pitchFamily="2" charset="0"/>
                        </a:rPr>
                        <a:t>2</a:t>
                      </a:r>
                      <a:r>
                        <a:rPr lang="en-CH" sz="800" b="1" i="0" u="none" strike="noStrike" dirty="0">
                          <a:solidFill>
                            <a:srgbClr val="00A097"/>
                          </a:solidFill>
                          <a:effectLst/>
                          <a:latin typeface="Nexa Book" panose="00000400000000000000" pitchFamily="2" charset="0"/>
                        </a:rPr>
                        <a:t>%</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73366">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73366">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73366">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73366">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73366">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73366">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73366">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Base Price Bracket | By Frais A Tartiner | Carrefour | P3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8/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289858672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34"/>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73366">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3366">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3366">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73366">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7.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6.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73366">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7.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73366">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73366">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73366">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7.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73366">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73366">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73366">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0</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Base Price Bracket | By Enfant | Carrefour | P3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8/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426489100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34"/>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73366">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3366">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3366">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73366">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73366">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73366">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73366">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73366">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73366">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6.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73366">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73366">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1</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Base Price Bracket | By Enfant | Carrefour | P3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8/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260938736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34"/>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73366">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3366">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3366">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73366">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7.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7.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73366">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9.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73366">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73366">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73366">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7.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9.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73366">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73366">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73366">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2</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Base Price Bracket | By Enfant | Intermarche | P3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8/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94611468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34"/>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73366">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3366">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3366">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73366">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73366">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73366">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73366">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73366">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6.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73366">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6.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73366">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73366">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3</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Base Price Bracket | By Enfant | Intermarche | P3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8/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39080484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34"/>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73366">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3366">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3366">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73366">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73366">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73366">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73366">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73366">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73366">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73366">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73366">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4</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Base Price Bracket | By Salade | Carrefour | P3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8/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105670394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34"/>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73366">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3366">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3366">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73366">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73366">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73366">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73366">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73366">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73366">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73366">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73366">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5</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Base Price Bracket | By Salade | Intermarche | P3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8/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157954294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34"/>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73366">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3366">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3366">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73366">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r>
                        <a:rPr lang="en-US" sz="800" b="1" i="0" u="none" strike="noStrike" dirty="0">
                          <a:solidFill>
                            <a:srgbClr val="00A097"/>
                          </a:solidFill>
                          <a:effectLst/>
                          <a:latin typeface="Nexa Book" panose="00000400000000000000" pitchFamily="2" charset="0"/>
                        </a:rPr>
                        <a:t>2</a:t>
                      </a:r>
                      <a:r>
                        <a:rPr lang="en-CH" sz="800" b="1" i="0" u="none" strike="noStrike" dirty="0">
                          <a:solidFill>
                            <a:srgbClr val="00A097"/>
                          </a:solidFill>
                          <a:effectLst/>
                          <a:latin typeface="Nexa Book" panose="00000400000000000000" pitchFamily="2" charset="0"/>
                        </a:rPr>
                        <a:t>%</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73366">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73366">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73366">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73366">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73366">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73366">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73366">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6</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Base Price Bracket | By Total Fromage | Carrefour | P3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8/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369843946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34"/>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73366">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3366">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3366">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73366">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73366">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73366">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73366">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73366">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73366">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73366">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73366">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7</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Base Price Bracket | By Total Fromage | Carrefour | P3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8/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287627492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34"/>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73366">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3366">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3366">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73366">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73366">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73366">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73366">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73366">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73366">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73366">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73366">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8</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Base Price Bracket | By Total Fromage | Carrefour | P3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8/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422109262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34"/>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73366">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3366">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3366">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73366">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r>
                        <a:rPr lang="en-US" sz="800" b="1" i="0" u="none" strike="noStrike" dirty="0">
                          <a:solidFill>
                            <a:srgbClr val="00A097"/>
                          </a:solidFill>
                          <a:effectLst/>
                          <a:latin typeface="Nexa Book" panose="00000400000000000000" pitchFamily="2" charset="0"/>
                        </a:rPr>
                        <a:t>2</a:t>
                      </a:r>
                      <a:r>
                        <a:rPr lang="en-CH" sz="800" b="1" i="0" u="none" strike="noStrike" dirty="0">
                          <a:solidFill>
                            <a:srgbClr val="00A097"/>
                          </a:solidFill>
                          <a:effectLst/>
                          <a:latin typeface="Nexa Book" panose="00000400000000000000" pitchFamily="2" charset="0"/>
                        </a:rPr>
                        <a:t>%</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73366">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73366">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73366">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73366">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73366">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73366">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73366">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9</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Base Price Bracket | By Total Fromage | Intermarche | P3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8/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27228751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34"/>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73366">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3366">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3366">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73366">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73366">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73366">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73366">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73366">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73366">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73366">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73366">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Base Price Bracket | By Frais A Tartiner | Carrefour | P3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8/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161344743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34"/>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73366">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3366">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3366">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73366">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73366">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73366">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73366">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73366">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73366">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73366">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73366">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0</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Base Price Bracket | By Total Fromage | Intermarche | P3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8/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192999179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34"/>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73366">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3366">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3366">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73366">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73366">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73366">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73366">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73366">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73366">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73366">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73366">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1</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Base Price Bracket | By Total Fromage | Intermarche | P3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8/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17524758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34"/>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73366">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3366">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3366">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73366">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r>
                        <a:rPr lang="en-US" sz="800" b="1" i="0" u="none" strike="noStrike" dirty="0">
                          <a:solidFill>
                            <a:srgbClr val="00A097"/>
                          </a:solidFill>
                          <a:effectLst/>
                          <a:latin typeface="Nexa Book" panose="00000400000000000000" pitchFamily="2" charset="0"/>
                        </a:rPr>
                        <a:t>2</a:t>
                      </a:r>
                      <a:r>
                        <a:rPr lang="en-CH" sz="800" b="1" i="0" u="none" strike="noStrike" dirty="0">
                          <a:solidFill>
                            <a:srgbClr val="00A097"/>
                          </a:solidFill>
                          <a:effectLst/>
                          <a:latin typeface="Nexa Book" panose="00000400000000000000" pitchFamily="2" charset="0"/>
                        </a:rPr>
                        <a:t>%</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73366">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73366">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73366">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73366">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73366">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73366">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73366">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2</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Base Price Bracket | By Soft Cheese | Carrefour | P3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8/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277108556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34"/>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73366">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3366">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3366">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73366">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73366">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73366">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73366">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73366">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73366">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73366">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73366">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3</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Base Price Bracket | By Soft Cheese | Carrefour | P3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8/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46038666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34"/>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73366">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3366">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3366">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73366">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73366">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73366">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73366">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73366">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73366">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73366">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73366">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4</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Base Price Bracket | By Soft Cheese | Carrefour | P3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8/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413063510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34"/>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73366">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3366">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3366">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73366">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r>
                        <a:rPr lang="en-US" sz="800" b="1" i="0" u="none" strike="noStrike" dirty="0">
                          <a:solidFill>
                            <a:srgbClr val="00A097"/>
                          </a:solidFill>
                          <a:effectLst/>
                          <a:latin typeface="Nexa Book" panose="00000400000000000000" pitchFamily="2" charset="0"/>
                        </a:rPr>
                        <a:t>2</a:t>
                      </a:r>
                      <a:r>
                        <a:rPr lang="en-CH" sz="800" b="1" i="0" u="none" strike="noStrike" dirty="0">
                          <a:solidFill>
                            <a:srgbClr val="00A097"/>
                          </a:solidFill>
                          <a:effectLst/>
                          <a:latin typeface="Nexa Book" panose="00000400000000000000" pitchFamily="2" charset="0"/>
                        </a:rPr>
                        <a:t>%</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73366">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73366">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73366">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73366">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73366">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73366">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73366">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5</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Base Price Bracket | By Soft Cheese | Intermarche | P3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8/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265442818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34"/>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73366">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3366">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3366">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73366">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73366">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73366">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73366">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73366">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73366">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73366">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73366">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6</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Base Price Bracket | By Soft Cheese | Intermarche | P3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8/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3535498432"/>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34"/>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73366">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3366">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3366">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73366">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73366">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73366">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73366">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73366">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73366">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73366">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73366">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7</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Base Price Bracket | By Soft Cheese | Intermarche | P3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8/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331857629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34"/>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73366">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3366">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3366">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73366">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73366">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73366">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73366">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73366">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73366">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73366">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73366">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3</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Base Price Bracket | By Frais A Tartiner | Carrefour | P3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8/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192441292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34"/>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73366">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3366">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3366">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73366">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r>
                        <a:rPr lang="en-US" sz="800" b="1" i="0" u="none" strike="noStrike" dirty="0">
                          <a:solidFill>
                            <a:srgbClr val="00A097"/>
                          </a:solidFill>
                          <a:effectLst/>
                          <a:latin typeface="Nexa Book" panose="00000400000000000000" pitchFamily="2" charset="0"/>
                        </a:rPr>
                        <a:t>2</a:t>
                      </a:r>
                      <a:r>
                        <a:rPr lang="en-CH" sz="800" b="1" i="0" u="none" strike="noStrike" dirty="0">
                          <a:solidFill>
                            <a:srgbClr val="00A097"/>
                          </a:solidFill>
                          <a:effectLst/>
                          <a:latin typeface="Nexa Book" panose="00000400000000000000" pitchFamily="2" charset="0"/>
                        </a:rPr>
                        <a:t>%</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73366">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73366">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73366">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73366">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73366">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7.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73366">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73366">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4</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Base Price Bracket | By Frais A Tartiner | Intermarche | P3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8/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304516271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34"/>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73366">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3366">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3366">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73366">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73366">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73366">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73366">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73366">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73366">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73366">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73366">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5</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Base Price Bracket | By Frais A Tartiner | Intermarche | P3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8/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338482700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34"/>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73366">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3366">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3366">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73366">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73366">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73366">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7.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73366">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73366">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73366">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73366">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73366">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Base Price Bracket | By Aperitif | Carrefour | P3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8/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212318217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34"/>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73366">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3366">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3366">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73366">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73366">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73366">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1.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73366">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73366">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73366">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73366">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73366">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Base Price Bracket | By Aperitif | Intermarche | P3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8/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364126916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34"/>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73366">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3366">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3366">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73366">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73366">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73366">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73366">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73366">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73366">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73366">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73366">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Base Price Bracket | By Ingredient A Chaud | Intermarche | P3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8/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393480907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34"/>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73366">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3366">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3366">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73366">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73366">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73366">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73366">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73366">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73366">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73366">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73366">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Base Price Bracket | By Ingredient A Chaud | Intermarche | P3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8/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54498355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PricingOne Light Template Oct 2024">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Dubai"/>
      </a:majorFont>
      <a:minorFont>
        <a:latin typeface="Nexa Book"/>
        <a:ea typeface=""/>
        <a:cs typeface="Dubai Ligh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6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schemeClr>
        </a:solidFill>
        <a:ln>
          <a:noFill/>
        </a:ln>
      </a:spPr>
      <a:bodyPr wrap="none" lIns="108000" tIns="108000" rIns="108000" bIns="108000" rtlCol="0" anchor="ctr">
        <a:spAutoFit/>
      </a:bodyPr>
      <a:lstStyle>
        <a:defPPr algn="l">
          <a:defRPr sz="9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icingOne Light Template Oct 2024" id="{43E23444-8A1B-409A-8566-D31F3D9D6E16}" vid="{B5C8E441-137C-475B-8CED-9291B669EE68}"/>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57F3A64EFB0E7749864827C4C084DE8D" ma:contentTypeVersion="16" ma:contentTypeDescription="Create a new document." ma:contentTypeScope="" ma:versionID="a492c0260f55a60a54ae1f589b92f830">
  <xsd:schema xmlns:xsd="http://www.w3.org/2001/XMLSchema" xmlns:xs="http://www.w3.org/2001/XMLSchema" xmlns:p="http://schemas.microsoft.com/office/2006/metadata/properties" xmlns:ns2="0ad93b7f-b0cd-4c46-aaaf-ff14495948cf" xmlns:ns3="474cf4e4-8a51-432b-9e1b-0ea607ac38ff" targetNamespace="http://schemas.microsoft.com/office/2006/metadata/properties" ma:root="true" ma:fieldsID="47e8414eaa505a6e294dff4436781a52" ns2:_="" ns3:_="">
    <xsd:import namespace="0ad93b7f-b0cd-4c46-aaaf-ff14495948cf"/>
    <xsd:import namespace="474cf4e4-8a51-432b-9e1b-0ea607ac38ff"/>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AutoKeyPoints" minOccurs="0"/>
                <xsd:element ref="ns2:MediaServiceKeyPoints" minOccurs="0"/>
                <xsd:element ref="ns2:MediaServiceGenerationTime" minOccurs="0"/>
                <xsd:element ref="ns2:MediaServiceEventHashCode" minOccurs="0"/>
                <xsd:element ref="ns2:MediaServiceDateTaken"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d93b7f-b0cd-4c46-aaaf-ff14495948c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357a035a-b75f-4f0a-966d-4a4e0268141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74cf4e4-8a51-432b-9e1b-0ea607ac38ff"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d27a1696-6eea-42d4-b4ee-dd827aa5ff17}" ma:internalName="TaxCatchAll" ma:showField="CatchAllData" ma:web="474cf4e4-8a51-432b-9e1b-0ea607ac38f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TaxCatchAll xmlns="474cf4e4-8a51-432b-9e1b-0ea607ac38ff"/>
    <lcf76f155ced4ddcb4097134ff3c332f xmlns="0ad93b7f-b0cd-4c46-aaaf-ff14495948cf">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F89120C1-6D3E-44F1-BAD9-DC94978434C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ad93b7f-b0cd-4c46-aaaf-ff14495948cf"/>
    <ds:schemaRef ds:uri="474cf4e4-8a51-432b-9e1b-0ea607ac38f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6502A1C8-4964-4CAE-93D2-4FFA7871C136}">
  <ds:schemaRefs>
    <ds:schemaRef ds:uri="http://schemas.microsoft.com/sharepoint/v3/contenttype/forms"/>
  </ds:schemaRefs>
</ds:datastoreItem>
</file>

<file path=customXml/itemProps3.xml><?xml version="1.0" encoding="utf-8"?>
<ds:datastoreItem xmlns:ds="http://schemas.openxmlformats.org/officeDocument/2006/customXml" ds:itemID="{FF0D3061-614B-40A0-B620-03D3B7FB0B63}">
  <ds:schemaRefs>
    <ds:schemaRef ds:uri="http://purl.org/dc/terms/"/>
    <ds:schemaRef ds:uri="http://schemas.microsoft.com/office/2006/documentManagement/types"/>
    <ds:schemaRef ds:uri="http://purl.org/dc/elements/1.1/"/>
    <ds:schemaRef ds:uri="http://purl.org/dc/dcmitype/"/>
    <ds:schemaRef ds:uri="0ad93b7f-b0cd-4c46-aaaf-ff14495948cf"/>
    <ds:schemaRef ds:uri="474cf4e4-8a51-432b-9e1b-0ea607ac38ff"/>
    <ds:schemaRef ds:uri="http://schemas.microsoft.com/office/infopath/2007/PartnerControls"/>
    <ds:schemaRef ds:uri="http://schemas.openxmlformats.org/package/2006/metadata/core-properties"/>
    <ds:schemaRef ds:uri="http://schemas.microsoft.com/office/2006/metadata/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
  <TotalTime>39</TotalTime>
  <Words>3105</Words>
  <Application>Microsoft Office PowerPoint</Application>
  <PresentationFormat>On-screen Show (16:9)</PresentationFormat>
  <Paragraphs>1161</Paragraphs>
  <Slides>27</Slides>
  <Notes>27</Notes>
  <HiddenSlides>0</HiddenSlides>
  <MMClips>0</MMClips>
  <ScaleCrop>false</ScaleCrop>
  <HeadingPairs>
    <vt:vector size="8" baseType="variant">
      <vt:variant>
        <vt:lpstr>Fonts Used</vt:lpstr>
      </vt:variant>
      <vt:variant>
        <vt:i4>9</vt:i4>
      </vt:variant>
      <vt:variant>
        <vt:lpstr>Theme</vt:lpstr>
      </vt:variant>
      <vt:variant>
        <vt:i4>1</vt:i4>
      </vt:variant>
      <vt:variant>
        <vt:lpstr>Embedded OLE Servers</vt:lpstr>
      </vt:variant>
      <vt:variant>
        <vt:i4>1</vt:i4>
      </vt:variant>
      <vt:variant>
        <vt:lpstr>Slide Titles</vt:lpstr>
      </vt:variant>
      <vt:variant>
        <vt:i4>27</vt:i4>
      </vt:variant>
    </vt:vector>
  </HeadingPairs>
  <TitlesOfParts>
    <vt:vector size="38" baseType="lpstr">
      <vt:lpstr>Aptos</vt:lpstr>
      <vt:lpstr>Arial</vt:lpstr>
      <vt:lpstr>Calibri</vt:lpstr>
      <vt:lpstr>Nexa</vt:lpstr>
      <vt:lpstr>Nexa Bold</vt:lpstr>
      <vt:lpstr>Nexa Bold (Headings)</vt:lpstr>
      <vt:lpstr>Nexa Book</vt:lpstr>
      <vt:lpstr>Nexa Book Italic</vt:lpstr>
      <vt:lpstr>Open Sans</vt:lpstr>
      <vt:lpstr>1_PricingOne Light Template Oct 2024</vt:lpstr>
      <vt:lpstr>think-cell Slide</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rand Share Topline By Size Bracket (Replace With SO WHAT)</dc:title>
  <dc:creator>Bhagya RANASINGHE</dc:creator>
  <cp:lastModifiedBy>Aleaa SALAH</cp:lastModifiedBy>
  <cp:revision>76</cp:revision>
  <dcterms:created xsi:type="dcterms:W3CDTF">2024-07-05T11:30:58Z</dcterms:created>
  <dcterms:modified xsi:type="dcterms:W3CDTF">2025-09-08T14:53:3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7F3A64EFB0E7749864827C4C084DE8D</vt:lpwstr>
  </property>
  <property fmtid="{D5CDD505-2E9C-101B-9397-08002B2CF9AE}" pid="3" name="MediaServiceImageTags">
    <vt:lpwstr/>
  </property>
</Properties>
</file>